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2" r:id="rId4"/>
    <p:sldMasterId id="2147483860" r:id="rId5"/>
    <p:sldMasterId id="2147483889" r:id="rId6"/>
    <p:sldMasterId id="2147483913" r:id="rId7"/>
  </p:sldMasterIdLst>
  <p:notesMasterIdLst>
    <p:notesMasterId r:id="rId23"/>
  </p:notesMasterIdLst>
  <p:handoutMasterIdLst>
    <p:handoutMasterId r:id="rId24"/>
  </p:handoutMasterIdLst>
  <p:sldIdLst>
    <p:sldId id="897" r:id="rId8"/>
    <p:sldId id="912" r:id="rId9"/>
    <p:sldId id="900" r:id="rId10"/>
    <p:sldId id="901" r:id="rId11"/>
    <p:sldId id="913" r:id="rId12"/>
    <p:sldId id="902" r:id="rId13"/>
    <p:sldId id="903" r:id="rId14"/>
    <p:sldId id="904" r:id="rId15"/>
    <p:sldId id="905" r:id="rId16"/>
    <p:sldId id="906" r:id="rId17"/>
    <p:sldId id="907" r:id="rId18"/>
    <p:sldId id="908" r:id="rId19"/>
    <p:sldId id="909" r:id="rId20"/>
    <p:sldId id="914" r:id="rId21"/>
    <p:sldId id="915" r:id="rId22"/>
  </p:sldIdLst>
  <p:sldSz cx="12192000" cy="6858000"/>
  <p:notesSz cx="7019925" cy="9305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57" autoAdjust="0"/>
    <p:restoredTop sz="93979" autoAdjust="0"/>
  </p:normalViewPr>
  <p:slideViewPr>
    <p:cSldViewPr snapToGrid="0" snapToObjects="1">
      <p:cViewPr varScale="1">
        <p:scale>
          <a:sx n="63" d="100"/>
          <a:sy n="63" d="100"/>
        </p:scale>
        <p:origin x="1072" y="5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4" d="100"/>
        <a:sy n="134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688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90DA6B0-839E-E24B-B25F-FFC4D9305D91}" type="datetimeFigureOut">
              <a:rPr lang="en-US"/>
              <a:pPr>
                <a:defRPr/>
              </a:pPr>
              <a:t>5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688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96C1288-5E73-3E48-9E69-4B2D5D178F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297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688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0192DF6-EB71-844D-9104-4A4EEFFCF951}" type="datetimeFigureOut">
              <a:rPr lang="en-US"/>
              <a:pPr>
                <a:defRPr/>
              </a:pPr>
              <a:t>5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8338"/>
            <a:ext cx="5616575" cy="3663950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688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04A94C6-EB52-D74D-9ACE-D50EDEA316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9838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ＭＳ Ｐゴシック" charset="0"/>
        <a:cs typeface="Roboto" charset="0"/>
      </a:defRPr>
    </a:lvl1pPr>
    <a:lvl2pPr marL="4572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2pPr>
    <a:lvl3pPr marL="9144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3pPr>
    <a:lvl4pPr marL="13716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4pPr>
    <a:lvl5pPr marL="18288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DAD74B-4254-4A15-B920-236F271C9A39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792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772612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059875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638147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67196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61470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76521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17100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80195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13848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2772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843134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87769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9687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1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13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8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4" Type="http://schemas.openxmlformats.org/officeDocument/2006/relationships/image" Target="../media/image2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4" Type="http://schemas.openxmlformats.org/officeDocument/2006/relationships/image" Target="../media/image2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4" Type="http://schemas.openxmlformats.org/officeDocument/2006/relationships/image" Target="../media/image2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4" Type="http://schemas.openxmlformats.org/officeDocument/2006/relationships/image" Target="../media/image2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4" Type="http://schemas.openxmlformats.org/officeDocument/2006/relationships/image" Target="../media/image2.sv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4" Type="http://schemas.openxmlformats.org/officeDocument/2006/relationships/image" Target="../media/image2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4" Type="http://schemas.openxmlformats.org/officeDocument/2006/relationships/image" Target="../media/image2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4" Type="http://schemas.openxmlformats.org/officeDocument/2006/relationships/image" Target="../media/image5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4" Type="http://schemas.openxmlformats.org/officeDocument/2006/relationships/image" Target="../media/image7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76072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038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ABB8FC-068B-454D-9279-EEDCA4E00E56}"/>
              </a:ext>
            </a:extLst>
          </p:cNvPr>
          <p:cNvGrpSpPr/>
          <p:nvPr/>
        </p:nvGrpSpPr>
        <p:grpSpPr>
          <a:xfrm>
            <a:off x="1" y="4754880"/>
            <a:ext cx="12191999" cy="1600200"/>
            <a:chOff x="1" y="4434840"/>
            <a:chExt cx="12191999" cy="16002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2FD6D-9BB1-4612-8DD8-CAF4D5414568}"/>
                </a:ext>
              </a:extLst>
            </p:cNvPr>
            <p:cNvSpPr/>
            <p:nvPr/>
          </p:nvSpPr>
          <p:spPr>
            <a:xfrm rot="16200000">
              <a:off x="6005973" y="-5043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12B5A68-8EF0-4C7A-BB81-09E4A111F215}"/>
                </a:ext>
              </a:extLst>
            </p:cNvPr>
            <p:cNvSpPr/>
            <p:nvPr/>
          </p:nvSpPr>
          <p:spPr>
            <a:xfrm rot="16200000">
              <a:off x="6008229" y="-8599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B76E9FD-333B-466B-B295-21DA9ACF7BE7}"/>
                </a:ext>
              </a:extLst>
            </p:cNvPr>
            <p:cNvSpPr/>
            <p:nvPr/>
          </p:nvSpPr>
          <p:spPr>
            <a:xfrm rot="16200000">
              <a:off x="6008229" y="-12155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045688-A1C0-480A-9010-2510EC13EDC5}"/>
                </a:ext>
              </a:extLst>
            </p:cNvPr>
            <p:cNvSpPr/>
            <p:nvPr/>
          </p:nvSpPr>
          <p:spPr>
            <a:xfrm rot="16200000">
              <a:off x="5711953" y="147543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3D596E4-0307-4E52-955E-5219321EC1D3}"/>
                </a:ext>
              </a:extLst>
            </p:cNvPr>
            <p:cNvSpPr/>
            <p:nvPr/>
          </p:nvSpPr>
          <p:spPr>
            <a:xfrm rot="16200000">
              <a:off x="5711953" y="-1274857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10CF1A0-CD05-48CA-9136-69F8EB2488E9}"/>
                </a:ext>
              </a:extLst>
            </p:cNvPr>
            <p:cNvSpPr/>
            <p:nvPr/>
          </p:nvSpPr>
          <p:spPr>
            <a:xfrm rot="16200000">
              <a:off x="11095865" y="4939792"/>
              <a:ext cx="1600200" cy="590295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745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942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54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28600"/>
            <a:ext cx="9144000" cy="6400799"/>
          </a:xfrm>
        </p:spPr>
        <p:txBody>
          <a:bodyPr anchor="ctr" anchorCtr="1"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742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076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943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1642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DD7EE2F-56DA-4FC6-9605-07FD606C55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75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329411-F38A-4621-B822-B1D93BFA34B6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0FF2E7B-84E2-4B03-8B74-F89D93D3029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11948160 w 12192000"/>
                <a:gd name="connsiteY3" fmla="*/ 6858000 h 6858000"/>
                <a:gd name="connsiteX4" fmla="*/ 11948160 w 12192000"/>
                <a:gd name="connsiteY4" fmla="*/ 5623560 h 6858000"/>
                <a:gd name="connsiteX5" fmla="*/ 11947525 w 12192000"/>
                <a:gd name="connsiteY5" fmla="*/ 5623560 h 6858000"/>
                <a:gd name="connsiteX6" fmla="*/ 11947525 w 12192000"/>
                <a:gd name="connsiteY6" fmla="*/ 228600 h 6858000"/>
                <a:gd name="connsiteX7" fmla="*/ 244475 w 12192000"/>
                <a:gd name="connsiteY7" fmla="*/ 228600 h 6858000"/>
                <a:gd name="connsiteX8" fmla="*/ 244475 w 12192000"/>
                <a:gd name="connsiteY8" fmla="*/ 6629400 h 6858000"/>
                <a:gd name="connsiteX9" fmla="*/ 10759440 w 12192000"/>
                <a:gd name="connsiteY9" fmla="*/ 6629400 h 6858000"/>
                <a:gd name="connsiteX10" fmla="*/ 10759440 w 12192000"/>
                <a:gd name="connsiteY10" fmla="*/ 6858000 h 6858000"/>
                <a:gd name="connsiteX11" fmla="*/ 0 w 12192000"/>
                <a:gd name="connsiteY11" fmla="*/ 6858000 h 6858000"/>
                <a:gd name="connsiteX12" fmla="*/ 0 w 12192000"/>
                <a:gd name="connsiteY12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11948160" y="6858000"/>
                  </a:lnTo>
                  <a:lnTo>
                    <a:pt x="11948160" y="5623560"/>
                  </a:lnTo>
                  <a:lnTo>
                    <a:pt x="11947525" y="5623560"/>
                  </a:lnTo>
                  <a:lnTo>
                    <a:pt x="11947525" y="228600"/>
                  </a:lnTo>
                  <a:lnTo>
                    <a:pt x="244475" y="228600"/>
                  </a:lnTo>
                  <a:lnTo>
                    <a:pt x="244475" y="6629400"/>
                  </a:lnTo>
                  <a:lnTo>
                    <a:pt x="10759440" y="6629400"/>
                  </a:lnTo>
                  <a:lnTo>
                    <a:pt x="1075944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endParaRPr lang="en-US" sz="1800" dirty="0" err="1"/>
            </a:p>
          </p:txBody>
        </p:sp>
        <p:sp>
          <p:nvSpPr>
            <p:cNvPr id="8" name="Graphic 10">
              <a:extLst>
                <a:ext uri="{FF2B5EF4-FFF2-40B4-BE49-F238E27FC236}">
                  <a16:creationId xmlns:a16="http://schemas.microsoft.com/office/drawing/2014/main" id="{4018B138-26D4-4E7D-A0DC-6D61658459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9400" y="6629400"/>
              <a:ext cx="617220" cy="228600"/>
            </a:xfrm>
            <a:custGeom>
              <a:avLst/>
              <a:gdLst>
                <a:gd name="connsiteX0" fmla="*/ 772368 w 771525"/>
                <a:gd name="connsiteY0" fmla="*/ 269558 h 285750"/>
                <a:gd name="connsiteX1" fmla="*/ 753318 w 771525"/>
                <a:gd name="connsiteY1" fmla="*/ 291465 h 285750"/>
                <a:gd name="connsiteX2" fmla="*/ 406608 w 771525"/>
                <a:gd name="connsiteY2" fmla="*/ 291465 h 285750"/>
                <a:gd name="connsiteX3" fmla="*/ 2748 w 771525"/>
                <a:gd name="connsiteY3" fmla="*/ 6668 h 285750"/>
                <a:gd name="connsiteX4" fmla="*/ 3701 w 771525"/>
                <a:gd name="connsiteY4" fmla="*/ 0 h 285750"/>
                <a:gd name="connsiteX5" fmla="*/ 450423 w 771525"/>
                <a:gd name="connsiteY5" fmla="*/ 0 h 285750"/>
                <a:gd name="connsiteX6" fmla="*/ 772368 w 771525"/>
                <a:gd name="connsiteY6" fmla="*/ 26955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5" h="285750">
                  <a:moveTo>
                    <a:pt x="772368" y="269558"/>
                  </a:moveTo>
                  <a:cubicBezTo>
                    <a:pt x="774273" y="280988"/>
                    <a:pt x="764748" y="291465"/>
                    <a:pt x="753318" y="291465"/>
                  </a:cubicBezTo>
                  <a:lnTo>
                    <a:pt x="406608" y="291465"/>
                  </a:lnTo>
                  <a:cubicBezTo>
                    <a:pt x="131336" y="291465"/>
                    <a:pt x="185628" y="56198"/>
                    <a:pt x="2748" y="6668"/>
                  </a:cubicBezTo>
                  <a:cubicBezTo>
                    <a:pt x="-1062" y="5715"/>
                    <a:pt x="-1062" y="0"/>
                    <a:pt x="3701" y="0"/>
                  </a:cubicBezTo>
                  <a:lnTo>
                    <a:pt x="450423" y="0"/>
                  </a:lnTo>
                  <a:cubicBezTo>
                    <a:pt x="589488" y="0"/>
                    <a:pt x="748556" y="99060"/>
                    <a:pt x="772368" y="26955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768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Graphic 4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166291" y="1654806"/>
            <a:ext cx="5851803" cy="2538743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22710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406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645E44C-BC01-4C20-BC03-C07046E16E25}"/>
              </a:ext>
            </a:extLst>
          </p:cNvPr>
          <p:cNvSpPr/>
          <p:nvPr/>
        </p:nvSpPr>
        <p:spPr>
          <a:xfrm flipV="1">
            <a:off x="6094196" y="228600"/>
            <a:ext cx="6097804" cy="6629400"/>
          </a:xfrm>
          <a:custGeom>
            <a:avLst/>
            <a:gdLst>
              <a:gd name="connsiteX0" fmla="*/ 2439 w 6097804"/>
              <a:gd name="connsiteY0" fmla="*/ 6629400 h 6629400"/>
              <a:gd name="connsiteX1" fmla="*/ 307303 w 6097804"/>
              <a:gd name="connsiteY1" fmla="*/ 6332812 h 6629400"/>
              <a:gd name="connsiteX2" fmla="*/ 612167 w 6097804"/>
              <a:gd name="connsiteY2" fmla="*/ 6629400 h 6629400"/>
              <a:gd name="connsiteX3" fmla="*/ 917030 w 6097804"/>
              <a:gd name="connsiteY3" fmla="*/ 6332812 h 6629400"/>
              <a:gd name="connsiteX4" fmla="*/ 1221894 w 6097804"/>
              <a:gd name="connsiteY4" fmla="*/ 6629400 h 6629400"/>
              <a:gd name="connsiteX5" fmla="*/ 1526757 w 6097804"/>
              <a:gd name="connsiteY5" fmla="*/ 6332812 h 6629400"/>
              <a:gd name="connsiteX6" fmla="*/ 1831621 w 6097804"/>
              <a:gd name="connsiteY6" fmla="*/ 6629400 h 6629400"/>
              <a:gd name="connsiteX7" fmla="*/ 2136484 w 6097804"/>
              <a:gd name="connsiteY7" fmla="*/ 6332812 h 6629400"/>
              <a:gd name="connsiteX8" fmla="*/ 2441348 w 6097804"/>
              <a:gd name="connsiteY8" fmla="*/ 6629400 h 6629400"/>
              <a:gd name="connsiteX9" fmla="*/ 2746212 w 6097804"/>
              <a:gd name="connsiteY9" fmla="*/ 6332812 h 6629400"/>
              <a:gd name="connsiteX10" fmla="*/ 3051074 w 6097804"/>
              <a:gd name="connsiteY10" fmla="*/ 6629400 h 6629400"/>
              <a:gd name="connsiteX11" fmla="*/ 3355938 w 6097804"/>
              <a:gd name="connsiteY11" fmla="*/ 6332812 h 6629400"/>
              <a:gd name="connsiteX12" fmla="*/ 3660802 w 6097804"/>
              <a:gd name="connsiteY12" fmla="*/ 6629400 h 6629400"/>
              <a:gd name="connsiteX13" fmla="*/ 3965665 w 6097804"/>
              <a:gd name="connsiteY13" fmla="*/ 6332812 h 6629400"/>
              <a:gd name="connsiteX14" fmla="*/ 4270529 w 6097804"/>
              <a:gd name="connsiteY14" fmla="*/ 6629400 h 6629400"/>
              <a:gd name="connsiteX15" fmla="*/ 4575392 w 6097804"/>
              <a:gd name="connsiteY15" fmla="*/ 6332812 h 6629400"/>
              <a:gd name="connsiteX16" fmla="*/ 4880256 w 6097804"/>
              <a:gd name="connsiteY16" fmla="*/ 6629400 h 6629400"/>
              <a:gd name="connsiteX17" fmla="*/ 5185120 w 6097804"/>
              <a:gd name="connsiteY17" fmla="*/ 6332812 h 6629400"/>
              <a:gd name="connsiteX18" fmla="*/ 5489983 w 6097804"/>
              <a:gd name="connsiteY18" fmla="*/ 6629400 h 6629400"/>
              <a:gd name="connsiteX19" fmla="*/ 5794847 w 6097804"/>
              <a:gd name="connsiteY19" fmla="*/ 6332812 h 6629400"/>
              <a:gd name="connsiteX20" fmla="*/ 6097804 w 6097804"/>
              <a:gd name="connsiteY20" fmla="*/ 6627487 h 6629400"/>
              <a:gd name="connsiteX21" fmla="*/ 6097804 w 6097804"/>
              <a:gd name="connsiteY21" fmla="*/ 1463040 h 6629400"/>
              <a:gd name="connsiteX22" fmla="*/ 6097804 w 6097804"/>
              <a:gd name="connsiteY22" fmla="*/ 0 h 6629400"/>
              <a:gd name="connsiteX23" fmla="*/ 1804 w 6097804"/>
              <a:gd name="connsiteY23" fmla="*/ 0 h 6629400"/>
              <a:gd name="connsiteX24" fmla="*/ 1804 w 6097804"/>
              <a:gd name="connsiteY24" fmla="*/ 1463040 h 6629400"/>
              <a:gd name="connsiteX25" fmla="*/ 0 w 6097804"/>
              <a:gd name="connsiteY25" fmla="*/ 1463040 h 6629400"/>
              <a:gd name="connsiteX26" fmla="*/ 0 w 6097804"/>
              <a:gd name="connsiteY26" fmla="*/ 6627027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097804" h="6629400">
                <a:moveTo>
                  <a:pt x="2439" y="6629400"/>
                </a:moveTo>
                <a:lnTo>
                  <a:pt x="307303" y="6332812"/>
                </a:lnTo>
                <a:lnTo>
                  <a:pt x="612167" y="6629400"/>
                </a:lnTo>
                <a:lnTo>
                  <a:pt x="917030" y="6332812"/>
                </a:lnTo>
                <a:lnTo>
                  <a:pt x="1221894" y="6629400"/>
                </a:lnTo>
                <a:lnTo>
                  <a:pt x="1526757" y="6332812"/>
                </a:lnTo>
                <a:lnTo>
                  <a:pt x="1831621" y="6629400"/>
                </a:lnTo>
                <a:lnTo>
                  <a:pt x="2136484" y="6332812"/>
                </a:lnTo>
                <a:lnTo>
                  <a:pt x="2441348" y="6629400"/>
                </a:lnTo>
                <a:lnTo>
                  <a:pt x="2746212" y="6332812"/>
                </a:lnTo>
                <a:lnTo>
                  <a:pt x="3051074" y="6629400"/>
                </a:lnTo>
                <a:lnTo>
                  <a:pt x="3355938" y="6332812"/>
                </a:lnTo>
                <a:lnTo>
                  <a:pt x="3660802" y="6629400"/>
                </a:lnTo>
                <a:lnTo>
                  <a:pt x="3965665" y="6332812"/>
                </a:lnTo>
                <a:lnTo>
                  <a:pt x="4270529" y="6629400"/>
                </a:lnTo>
                <a:lnTo>
                  <a:pt x="4575392" y="6332812"/>
                </a:lnTo>
                <a:lnTo>
                  <a:pt x="4880256" y="6629400"/>
                </a:lnTo>
                <a:lnTo>
                  <a:pt x="5185120" y="6332812"/>
                </a:lnTo>
                <a:lnTo>
                  <a:pt x="5489983" y="6629400"/>
                </a:lnTo>
                <a:lnTo>
                  <a:pt x="5794847" y="6332812"/>
                </a:lnTo>
                <a:lnTo>
                  <a:pt x="6097804" y="6627487"/>
                </a:lnTo>
                <a:lnTo>
                  <a:pt x="6097804" y="1463040"/>
                </a:lnTo>
                <a:lnTo>
                  <a:pt x="6097804" y="0"/>
                </a:lnTo>
                <a:lnTo>
                  <a:pt x="1804" y="0"/>
                </a:lnTo>
                <a:lnTo>
                  <a:pt x="1804" y="1463040"/>
                </a:lnTo>
                <a:lnTo>
                  <a:pt x="0" y="1463040"/>
                </a:lnTo>
                <a:lnTo>
                  <a:pt x="0" y="662702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64E614CC-7161-451C-B27F-99D746FC8F2F}"/>
              </a:ext>
            </a:extLst>
          </p:cNvPr>
          <p:cNvSpPr>
            <a:spLocks/>
          </p:cNvSpPr>
          <p:nvPr/>
        </p:nvSpPr>
        <p:spPr>
          <a:xfrm>
            <a:off x="6092672" y="6263640"/>
            <a:ext cx="6097804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38DE18-F374-442B-82ED-D998FAF428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4" t="1" r="34344" b="25889"/>
          <a:stretch/>
        </p:blipFill>
        <p:spPr>
          <a:xfrm>
            <a:off x="6964681" y="2148840"/>
            <a:ext cx="5227320" cy="4709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23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fld id="{5DA39392-15B0-4629-9A47-323464680A3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777" t="16711" b="12500"/>
          <a:stretch/>
        </p:blipFill>
        <p:spPr>
          <a:xfrm>
            <a:off x="11785600" y="0"/>
            <a:ext cx="3251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97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fld id="{5DA39392-15B0-4629-9A47-323464680A3D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90471E-3BFE-4044-B4E7-E3AD67A880DA}"/>
              </a:ext>
            </a:extLst>
          </p:cNvPr>
          <p:cNvGrpSpPr/>
          <p:nvPr/>
        </p:nvGrpSpPr>
        <p:grpSpPr>
          <a:xfrm>
            <a:off x="-1" y="0"/>
            <a:ext cx="12192001" cy="324000"/>
            <a:chOff x="-1" y="0"/>
            <a:chExt cx="12192001" cy="324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281A20-AEE3-4800-807A-950336D16D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811" b="1"/>
            <a:stretch/>
          </p:blipFill>
          <p:spPr>
            <a:xfrm>
              <a:off x="7595413" y="0"/>
              <a:ext cx="4596587" cy="324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5167EA9-E68A-4EAE-9FD1-B10D9C07E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0144" b="19439"/>
            <a:stretch/>
          </p:blipFill>
          <p:spPr>
            <a:xfrm>
              <a:off x="-1" y="0"/>
              <a:ext cx="7620581" cy="2301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8911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91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E383472-5454-443F-B162-B33D70911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581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9F6F5170-03E0-4F11-AD88-551021EC7DEF}"/>
              </a:ext>
            </a:extLst>
          </p:cNvPr>
          <p:cNvSpPr>
            <a:spLocks/>
          </p:cNvSpPr>
          <p:nvPr/>
        </p:nvSpPr>
        <p:spPr>
          <a:xfrm>
            <a:off x="6096000" y="0"/>
            <a:ext cx="6094476" cy="685800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BDF2A30-DAEF-4E68-9D46-A16C728E72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362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634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alf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48640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48640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75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46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2C1C68-0BE4-4BD4-B4AB-0C9493C17F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7414ACF-E6E1-45E5-8EE2-D495C7FC11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70320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D42FBD-6323-4A31-AF80-88838F4246B6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41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B21A2B-35BD-410F-9AAB-71DFDFC64FE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1FDE994-B156-4570-A031-139DD055797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6720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92B91E1A-CCE9-4D10-A61F-184C0847C69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9912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60295B-F6FA-4FAF-814B-9BFEFD489A84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Graphic 13">
            <a:extLst>
              <a:ext uri="{FF2B5EF4-FFF2-40B4-BE49-F238E27FC236}">
                <a16:creationId xmlns:a16="http://schemas.microsoft.com/office/drawing/2014/main" id="{129DBC58-1033-4F8F-81C4-678D1A47381F}"/>
              </a:ext>
            </a:extLst>
          </p:cNvPr>
          <p:cNvSpPr>
            <a:spLocks noChangeAspect="1"/>
          </p:cNvSpPr>
          <p:nvPr/>
        </p:nvSpPr>
        <p:spPr>
          <a:xfrm>
            <a:off x="10204532" y="6355080"/>
            <a:ext cx="1332148" cy="502920"/>
          </a:xfrm>
          <a:custGeom>
            <a:avLst/>
            <a:gdLst>
              <a:gd name="connsiteX0" fmla="*/ 1342918 w 1343247"/>
              <a:gd name="connsiteY0" fmla="*/ 37719 h 507110"/>
              <a:gd name="connsiteX1" fmla="*/ 1310787 w 1343247"/>
              <a:gd name="connsiteY1" fmla="*/ 0 h 507110"/>
              <a:gd name="connsiteX2" fmla="*/ 705886 w 1343247"/>
              <a:gd name="connsiteY2" fmla="*/ 0 h 507110"/>
              <a:gd name="connsiteX3" fmla="*/ 4592 w 1343247"/>
              <a:gd name="connsiteY3" fmla="*/ 494538 h 507110"/>
              <a:gd name="connsiteX4" fmla="*/ 5989 w 1343247"/>
              <a:gd name="connsiteY4" fmla="*/ 507111 h 507110"/>
              <a:gd name="connsiteX5" fmla="*/ 781324 w 1343247"/>
              <a:gd name="connsiteY5" fmla="*/ 507111 h 507110"/>
              <a:gd name="connsiteX6" fmla="*/ 1342918 w 1343247"/>
              <a:gd name="connsiteY6" fmla="*/ 37719 h 50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247" h="507110">
                <a:moveTo>
                  <a:pt x="1342918" y="37719"/>
                </a:moveTo>
                <a:cubicBezTo>
                  <a:pt x="1345712" y="18161"/>
                  <a:pt x="1330345" y="0"/>
                  <a:pt x="1310787" y="0"/>
                </a:cubicBezTo>
                <a:lnTo>
                  <a:pt x="705886" y="0"/>
                </a:lnTo>
                <a:cubicBezTo>
                  <a:pt x="229509" y="0"/>
                  <a:pt x="323108" y="409321"/>
                  <a:pt x="4592" y="494538"/>
                </a:cubicBezTo>
                <a:cubicBezTo>
                  <a:pt x="-2393" y="495935"/>
                  <a:pt x="-996" y="507111"/>
                  <a:pt x="5989" y="507111"/>
                </a:cubicBezTo>
                <a:lnTo>
                  <a:pt x="781324" y="507111"/>
                </a:lnTo>
                <a:cubicBezTo>
                  <a:pt x="1024402" y="507111"/>
                  <a:pt x="1301008" y="333883"/>
                  <a:pt x="1342918" y="37719"/>
                </a:cubicBezTo>
                <a:close/>
              </a:path>
            </a:pathLst>
          </a:custGeom>
          <a:solidFill>
            <a:srgbClr val="C8161D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48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4D4F4101-10C5-4019-90A9-11F504117E2C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7B3453-D9F6-43AF-B722-4CCF6B26FB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8999"/>
            <a:ext cx="5760720" cy="3200399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473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961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893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28600"/>
            <a:ext cx="9144000" cy="6400799"/>
          </a:xfrm>
        </p:spPr>
        <p:txBody>
          <a:bodyPr anchor="ctr" anchorCtr="1"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30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52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139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13790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DD7EE2F-56DA-4FC6-9605-07FD606C55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996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329411-F38A-4621-B822-B1D93BFA34B6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0FF2E7B-84E2-4B03-8B74-F89D93D3029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11948160 w 12192000"/>
                <a:gd name="connsiteY3" fmla="*/ 6858000 h 6858000"/>
                <a:gd name="connsiteX4" fmla="*/ 11948160 w 12192000"/>
                <a:gd name="connsiteY4" fmla="*/ 5623560 h 6858000"/>
                <a:gd name="connsiteX5" fmla="*/ 11947525 w 12192000"/>
                <a:gd name="connsiteY5" fmla="*/ 5623560 h 6858000"/>
                <a:gd name="connsiteX6" fmla="*/ 11947525 w 12192000"/>
                <a:gd name="connsiteY6" fmla="*/ 228600 h 6858000"/>
                <a:gd name="connsiteX7" fmla="*/ 244475 w 12192000"/>
                <a:gd name="connsiteY7" fmla="*/ 228600 h 6858000"/>
                <a:gd name="connsiteX8" fmla="*/ 244475 w 12192000"/>
                <a:gd name="connsiteY8" fmla="*/ 6629400 h 6858000"/>
                <a:gd name="connsiteX9" fmla="*/ 10759440 w 12192000"/>
                <a:gd name="connsiteY9" fmla="*/ 6629400 h 6858000"/>
                <a:gd name="connsiteX10" fmla="*/ 10759440 w 12192000"/>
                <a:gd name="connsiteY10" fmla="*/ 6858000 h 6858000"/>
                <a:gd name="connsiteX11" fmla="*/ 0 w 12192000"/>
                <a:gd name="connsiteY11" fmla="*/ 6858000 h 6858000"/>
                <a:gd name="connsiteX12" fmla="*/ 0 w 12192000"/>
                <a:gd name="connsiteY12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11948160" y="6858000"/>
                  </a:lnTo>
                  <a:lnTo>
                    <a:pt x="11948160" y="5623560"/>
                  </a:lnTo>
                  <a:lnTo>
                    <a:pt x="11947525" y="5623560"/>
                  </a:lnTo>
                  <a:lnTo>
                    <a:pt x="11947525" y="228600"/>
                  </a:lnTo>
                  <a:lnTo>
                    <a:pt x="244475" y="228600"/>
                  </a:lnTo>
                  <a:lnTo>
                    <a:pt x="244475" y="6629400"/>
                  </a:lnTo>
                  <a:lnTo>
                    <a:pt x="10759440" y="6629400"/>
                  </a:lnTo>
                  <a:lnTo>
                    <a:pt x="1075944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8" name="Graphic 10">
              <a:extLst>
                <a:ext uri="{FF2B5EF4-FFF2-40B4-BE49-F238E27FC236}">
                  <a16:creationId xmlns:a16="http://schemas.microsoft.com/office/drawing/2014/main" id="{4018B138-26D4-4E7D-A0DC-6D61658459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9400" y="6629400"/>
              <a:ext cx="617220" cy="228600"/>
            </a:xfrm>
            <a:custGeom>
              <a:avLst/>
              <a:gdLst>
                <a:gd name="connsiteX0" fmla="*/ 772368 w 771525"/>
                <a:gd name="connsiteY0" fmla="*/ 269558 h 285750"/>
                <a:gd name="connsiteX1" fmla="*/ 753318 w 771525"/>
                <a:gd name="connsiteY1" fmla="*/ 291465 h 285750"/>
                <a:gd name="connsiteX2" fmla="*/ 406608 w 771525"/>
                <a:gd name="connsiteY2" fmla="*/ 291465 h 285750"/>
                <a:gd name="connsiteX3" fmla="*/ 2748 w 771525"/>
                <a:gd name="connsiteY3" fmla="*/ 6668 h 285750"/>
                <a:gd name="connsiteX4" fmla="*/ 3701 w 771525"/>
                <a:gd name="connsiteY4" fmla="*/ 0 h 285750"/>
                <a:gd name="connsiteX5" fmla="*/ 450423 w 771525"/>
                <a:gd name="connsiteY5" fmla="*/ 0 h 285750"/>
                <a:gd name="connsiteX6" fmla="*/ 772368 w 771525"/>
                <a:gd name="connsiteY6" fmla="*/ 26955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5" h="285750">
                  <a:moveTo>
                    <a:pt x="772368" y="269558"/>
                  </a:moveTo>
                  <a:cubicBezTo>
                    <a:pt x="774273" y="280988"/>
                    <a:pt x="764748" y="291465"/>
                    <a:pt x="753318" y="291465"/>
                  </a:cubicBezTo>
                  <a:lnTo>
                    <a:pt x="406608" y="291465"/>
                  </a:lnTo>
                  <a:cubicBezTo>
                    <a:pt x="131336" y="291465"/>
                    <a:pt x="185628" y="56198"/>
                    <a:pt x="2748" y="6668"/>
                  </a:cubicBezTo>
                  <a:cubicBezTo>
                    <a:pt x="-1062" y="5715"/>
                    <a:pt x="-1062" y="0"/>
                    <a:pt x="3701" y="0"/>
                  </a:cubicBezTo>
                  <a:lnTo>
                    <a:pt x="450423" y="0"/>
                  </a:lnTo>
                  <a:cubicBezTo>
                    <a:pt x="589488" y="0"/>
                    <a:pt x="748556" y="99060"/>
                    <a:pt x="772368" y="26955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7151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Graphic 4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166291" y="1654806"/>
            <a:ext cx="5851803" cy="2538743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75909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078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95532DA-6405-471A-924F-9BD6A6B1F3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79" y="228600"/>
            <a:ext cx="7791133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79" y="3429000"/>
            <a:ext cx="7791133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59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A39392-15B0-4629-9A47-323464680A3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777" t="16711" b="12500"/>
          <a:stretch/>
        </p:blipFill>
        <p:spPr>
          <a:xfrm>
            <a:off x="11785600" y="0"/>
            <a:ext cx="3251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122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A39392-15B0-4629-9A47-323464680A3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90471E-3BFE-4044-B4E7-E3AD67A880DA}"/>
              </a:ext>
            </a:extLst>
          </p:cNvPr>
          <p:cNvGrpSpPr/>
          <p:nvPr/>
        </p:nvGrpSpPr>
        <p:grpSpPr>
          <a:xfrm>
            <a:off x="-1" y="0"/>
            <a:ext cx="12192001" cy="324000"/>
            <a:chOff x="-1" y="0"/>
            <a:chExt cx="12192001" cy="324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281A20-AEE3-4800-807A-950336D16D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811" b="1"/>
            <a:stretch/>
          </p:blipFill>
          <p:spPr>
            <a:xfrm>
              <a:off x="7595413" y="0"/>
              <a:ext cx="4596587" cy="324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5167EA9-E68A-4EAE-9FD1-B10D9C07E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0144" b="19439"/>
            <a:stretch/>
          </p:blipFill>
          <p:spPr>
            <a:xfrm>
              <a:off x="-1" y="0"/>
              <a:ext cx="7620581" cy="2301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39619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3947" y="3722289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3F72533-155C-ED47-A31B-01FFA5B7A6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731" r="-1"/>
          <a:stretch/>
        </p:blipFill>
        <p:spPr>
          <a:xfrm>
            <a:off x="0" y="0"/>
            <a:ext cx="5085448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D27C231-BF81-0143-B523-B94639D66C3B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616C1E7-B94E-D64B-B001-0EE15BE6C052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E8E8C3E-5B41-0441-AF7A-51F1B9F7FF96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057557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371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657600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A two line titl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2821" y="4293871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39CEB44-9E89-DC41-BCB7-E03D5FB4DA61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E7667E4-8081-BA40-BD0C-76A8F422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08A31E2-D290-1B42-9DA1-78E163F63DF0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B0C82FFF-B591-D246-B684-92C3733D9C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938" t="658" r="1315" b="658"/>
          <a:stretch/>
        </p:blipFill>
        <p:spPr>
          <a:xfrm>
            <a:off x="0" y="0"/>
            <a:ext cx="4221480" cy="6858000"/>
          </a:xfrm>
          <a:prstGeom prst="rect">
            <a:avLst/>
          </a:prstGeom>
        </p:spPr>
      </p:pic>
      <p:pic>
        <p:nvPicPr>
          <p:cNvPr id="9" name="Picture 8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9507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/ Sub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2219" y="1234440"/>
            <a:ext cx="5622925" cy="2194560"/>
          </a:xfrm>
        </p:spPr>
        <p:txBody>
          <a:bodyPr anchor="b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219" y="3455634"/>
            <a:ext cx="5622925" cy="2194560"/>
          </a:xfrm>
          <a:prstGeom prst="rect">
            <a:avLst/>
          </a:prstGeo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81B56F1-E620-A94C-A686-EF7251027E6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D6A517E-7CEC-B345-A5D2-995F553E6D61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A2B77D-586F-074A-B95F-85E418DAC161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/>
        </p:nvSpPr>
        <p:spPr>
          <a:xfrm>
            <a:off x="482219" y="468283"/>
            <a:ext cx="8497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Digital – April Governance Committ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004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ith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755" y="2743200"/>
            <a:ext cx="5622925" cy="141732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949E6D-90C8-F24A-9F7F-408D440FC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-3048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452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C6089AD-576A-6647-8C8E-DCC31DE52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93" y="457201"/>
            <a:ext cx="11240741" cy="5952106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05854-1F0B-D045-B7C0-F5BDDC1B72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3085362"/>
            <a:ext cx="8778240" cy="685800"/>
          </a:xfrm>
          <a:noFill/>
        </p:spPr>
        <p:txBody>
          <a:bodyPr lIns="137160" rIns="137160"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6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57">
          <p15:clr>
            <a:srgbClr val="FBAE40"/>
          </p15:clr>
        </p15:guide>
        <p15:guide id="2" pos="72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Full: Titl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95A7BC1-3835-7A41-874C-6B4214A8A9F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75488" y="453561"/>
            <a:ext cx="11248434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0 w 10733155"/>
              <a:gd name="connsiteY0" fmla="*/ 344211 h 5956667"/>
              <a:gd name="connsiteX1" fmla="*/ 340571 w 10733155"/>
              <a:gd name="connsiteY1" fmla="*/ 3640 h 5956667"/>
              <a:gd name="connsiteX2" fmla="*/ 5159773 w 10733155"/>
              <a:gd name="connsiteY2" fmla="*/ 0 h 5956667"/>
              <a:gd name="connsiteX3" fmla="*/ 5158611 w 10733155"/>
              <a:gd name="connsiteY3" fmla="*/ 5606669 h 5956667"/>
              <a:gd name="connsiteX4" fmla="*/ 10728646 w 10733155"/>
              <a:gd name="connsiteY4" fmla="*/ 5956667 h 5956667"/>
              <a:gd name="connsiteX5" fmla="*/ 340571 w 10733155"/>
              <a:gd name="connsiteY5" fmla="*/ 5947240 h 5956667"/>
              <a:gd name="connsiteX6" fmla="*/ 0 w 10733155"/>
              <a:gd name="connsiteY6" fmla="*/ 5606669 h 5956667"/>
              <a:gd name="connsiteX7" fmla="*/ 0 w 10733155"/>
              <a:gd name="connsiteY7" fmla="*/ 344211 h 5956667"/>
              <a:gd name="connsiteX0" fmla="*/ 0 w 11248326"/>
              <a:gd name="connsiteY0" fmla="*/ 344211 h 5956667"/>
              <a:gd name="connsiteX1" fmla="*/ 340571 w 11248326"/>
              <a:gd name="connsiteY1" fmla="*/ 3640 h 5956667"/>
              <a:gd name="connsiteX2" fmla="*/ 5159773 w 11248326"/>
              <a:gd name="connsiteY2" fmla="*/ 0 h 5956667"/>
              <a:gd name="connsiteX3" fmla="*/ 11248326 w 11248326"/>
              <a:gd name="connsiteY3" fmla="*/ 5616096 h 5956667"/>
              <a:gd name="connsiteX4" fmla="*/ 10728646 w 11248326"/>
              <a:gd name="connsiteY4" fmla="*/ 5956667 h 5956667"/>
              <a:gd name="connsiteX5" fmla="*/ 340571 w 11248326"/>
              <a:gd name="connsiteY5" fmla="*/ 5947240 h 5956667"/>
              <a:gd name="connsiteX6" fmla="*/ 0 w 11248326"/>
              <a:gd name="connsiteY6" fmla="*/ 5606669 h 5956667"/>
              <a:gd name="connsiteX7" fmla="*/ 0 w 11248326"/>
              <a:gd name="connsiteY7" fmla="*/ 344211 h 5956667"/>
              <a:gd name="connsiteX0" fmla="*/ 0 w 11248580"/>
              <a:gd name="connsiteY0" fmla="*/ 340571 h 5953027"/>
              <a:gd name="connsiteX1" fmla="*/ 340571 w 11248580"/>
              <a:gd name="connsiteY1" fmla="*/ 0 h 5953027"/>
              <a:gd name="connsiteX2" fmla="*/ 11240062 w 11248580"/>
              <a:gd name="connsiteY2" fmla="*/ 15214 h 5953027"/>
              <a:gd name="connsiteX3" fmla="*/ 11248326 w 11248580"/>
              <a:gd name="connsiteY3" fmla="*/ 5612456 h 5953027"/>
              <a:gd name="connsiteX4" fmla="*/ 10728646 w 11248580"/>
              <a:gd name="connsiteY4" fmla="*/ 5953027 h 5953027"/>
              <a:gd name="connsiteX5" fmla="*/ 340571 w 11248580"/>
              <a:gd name="connsiteY5" fmla="*/ 5943600 h 5953027"/>
              <a:gd name="connsiteX6" fmla="*/ 0 w 11248580"/>
              <a:gd name="connsiteY6" fmla="*/ 5603029 h 5953027"/>
              <a:gd name="connsiteX7" fmla="*/ 0 w 11248580"/>
              <a:gd name="connsiteY7" fmla="*/ 340571 h 5953027"/>
              <a:gd name="connsiteX0" fmla="*/ 0 w 11248331"/>
              <a:gd name="connsiteY0" fmla="*/ 340571 h 5953027"/>
              <a:gd name="connsiteX1" fmla="*/ 340571 w 11248331"/>
              <a:gd name="connsiteY1" fmla="*/ 0 h 5953027"/>
              <a:gd name="connsiteX2" fmla="*/ 10910123 w 11248331"/>
              <a:gd name="connsiteY2" fmla="*/ 580822 h 5953027"/>
              <a:gd name="connsiteX3" fmla="*/ 11248326 w 11248331"/>
              <a:gd name="connsiteY3" fmla="*/ 5612456 h 5953027"/>
              <a:gd name="connsiteX4" fmla="*/ 10728646 w 11248331"/>
              <a:gd name="connsiteY4" fmla="*/ 5953027 h 5953027"/>
              <a:gd name="connsiteX5" fmla="*/ 340571 w 11248331"/>
              <a:gd name="connsiteY5" fmla="*/ 5943600 h 5953027"/>
              <a:gd name="connsiteX6" fmla="*/ 0 w 11248331"/>
              <a:gd name="connsiteY6" fmla="*/ 5603029 h 5953027"/>
              <a:gd name="connsiteX7" fmla="*/ 0 w 11248331"/>
              <a:gd name="connsiteY7" fmla="*/ 340571 h 5953027"/>
              <a:gd name="connsiteX0" fmla="*/ 0 w 11248434"/>
              <a:gd name="connsiteY0" fmla="*/ 344211 h 5956667"/>
              <a:gd name="connsiteX1" fmla="*/ 340571 w 11248434"/>
              <a:gd name="connsiteY1" fmla="*/ 3640 h 5956667"/>
              <a:gd name="connsiteX2" fmla="*/ 11230634 w 11248434"/>
              <a:gd name="connsiteY2" fmla="*/ 0 h 5956667"/>
              <a:gd name="connsiteX3" fmla="*/ 11248326 w 11248434"/>
              <a:gd name="connsiteY3" fmla="*/ 5616096 h 5956667"/>
              <a:gd name="connsiteX4" fmla="*/ 10728646 w 11248434"/>
              <a:gd name="connsiteY4" fmla="*/ 5956667 h 5956667"/>
              <a:gd name="connsiteX5" fmla="*/ 340571 w 11248434"/>
              <a:gd name="connsiteY5" fmla="*/ 5947240 h 5956667"/>
              <a:gd name="connsiteX6" fmla="*/ 0 w 11248434"/>
              <a:gd name="connsiteY6" fmla="*/ 5606669 h 5956667"/>
              <a:gd name="connsiteX7" fmla="*/ 0 w 11248434"/>
              <a:gd name="connsiteY7" fmla="*/ 344211 h 5956667"/>
              <a:gd name="connsiteX0" fmla="*/ 0 w 11248434"/>
              <a:gd name="connsiteY0" fmla="*/ 344211 h 5947240"/>
              <a:gd name="connsiteX1" fmla="*/ 340571 w 11248434"/>
              <a:gd name="connsiteY1" fmla="*/ 3640 h 5947240"/>
              <a:gd name="connsiteX2" fmla="*/ 11230634 w 11248434"/>
              <a:gd name="connsiteY2" fmla="*/ 0 h 5947240"/>
              <a:gd name="connsiteX3" fmla="*/ 11248326 w 11248434"/>
              <a:gd name="connsiteY3" fmla="*/ 5616096 h 5947240"/>
              <a:gd name="connsiteX4" fmla="*/ 10912676 w 11248434"/>
              <a:gd name="connsiteY4" fmla="*/ 5945165 h 5947240"/>
              <a:gd name="connsiteX5" fmla="*/ 340571 w 11248434"/>
              <a:gd name="connsiteY5" fmla="*/ 5947240 h 5947240"/>
              <a:gd name="connsiteX6" fmla="*/ 0 w 11248434"/>
              <a:gd name="connsiteY6" fmla="*/ 5606669 h 5947240"/>
              <a:gd name="connsiteX7" fmla="*/ 0 w 11248434"/>
              <a:gd name="connsiteY7" fmla="*/ 344211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48434" h="5947240">
                <a:moveTo>
                  <a:pt x="0" y="344211"/>
                </a:moveTo>
                <a:cubicBezTo>
                  <a:pt x="0" y="156119"/>
                  <a:pt x="152479" y="3640"/>
                  <a:pt x="340571" y="3640"/>
                </a:cubicBezTo>
                <a:lnTo>
                  <a:pt x="11230634" y="0"/>
                </a:lnTo>
                <a:cubicBezTo>
                  <a:pt x="11234670" y="2407"/>
                  <a:pt x="11249863" y="4639513"/>
                  <a:pt x="11248326" y="5616096"/>
                </a:cubicBezTo>
                <a:cubicBezTo>
                  <a:pt x="11248326" y="5804188"/>
                  <a:pt x="11100768" y="5945165"/>
                  <a:pt x="10912676" y="5945165"/>
                </a:cubicBezTo>
                <a:lnTo>
                  <a:pt x="340571" y="5947240"/>
                </a:lnTo>
                <a:cubicBezTo>
                  <a:pt x="152479" y="5947240"/>
                  <a:pt x="0" y="5794761"/>
                  <a:pt x="0" y="5606669"/>
                </a:cubicBezTo>
                <a:lnTo>
                  <a:pt x="0" y="344211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l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865BA6F-2010-6747-8D16-9D3D5F407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1234440"/>
            <a:ext cx="5486400" cy="2423160"/>
          </a:xfrm>
          <a:noFill/>
        </p:spPr>
        <p:txBody>
          <a:bodyPr lIns="137160" rIns="137160" anchor="b" anchorCtr="0"/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136A946-2964-A141-8BAF-3CF18AE4F2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3920" y="3657600"/>
            <a:ext cx="5486400" cy="1874520"/>
          </a:xfrm>
          <a:prstGeom prst="rect">
            <a:avLst/>
          </a:prstGeom>
        </p:spPr>
        <p:txBody>
          <a:bodyPr lIns="137160" tIns="182880" rIns="137160" bIns="182880" anchor="t" anchorCtr="0"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15F3D-AC04-B64A-B33D-4946D9634B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186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Square Left: Title and Sub w/ Br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E067813-9DC8-BE45-A5CC-D2B27E417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25" y="2310673"/>
            <a:ext cx="4846955" cy="1314975"/>
          </a:xfrm>
        </p:spPr>
        <p:txBody>
          <a:bodyPr wrap="square" rIns="137160" anchor="b" anchorCtr="0">
            <a:spAutoFit/>
          </a:bodyPr>
          <a:lstStyle>
            <a:lvl1pPr algn="r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3A050F-49AA-7D4B-83EE-C84CE0A113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94095-1D80-924F-BABC-3CF3E38EDF4D}"/>
              </a:ext>
            </a:extLst>
          </p:cNvPr>
          <p:cNvGrpSpPr/>
          <p:nvPr/>
        </p:nvGrpSpPr>
        <p:grpSpPr>
          <a:xfrm>
            <a:off x="9748689" y="465429"/>
            <a:ext cx="1968750" cy="960120"/>
            <a:chOff x="9748689" y="465429"/>
            <a:chExt cx="1968750" cy="96012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F7AE0C7-D68C-D149-AA48-35700DF7FEFA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22828B3-84DF-184D-9F6C-53816AD6D3ED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5429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6D31F9B5-2900-F247-A86E-28333F4134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1124" y="3644899"/>
            <a:ext cx="4846955" cy="1155701"/>
          </a:xfrm>
          <a:prstGeom prst="rect">
            <a:avLst/>
          </a:prstGeom>
        </p:spPr>
        <p:txBody>
          <a:bodyPr lIns="137160" tIns="182880" rIns="137160" bIns="182880" anchor="t" anchorCtr="0">
            <a:spAutoFit/>
          </a:bodyPr>
          <a:lstStyle>
            <a:lvl1pPr marL="0" indent="0" algn="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2AC46A0D-AD84-9648-8345-B953D8E0AE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5016" y="454025"/>
            <a:ext cx="5162079" cy="5942013"/>
          </a:xfrm>
          <a:custGeom>
            <a:avLst/>
            <a:gdLst>
              <a:gd name="connsiteX0" fmla="*/ 333574 w 5162079"/>
              <a:gd name="connsiteY0" fmla="*/ 0 h 5942013"/>
              <a:gd name="connsiteX1" fmla="*/ 3350953 w 5162079"/>
              <a:gd name="connsiteY1" fmla="*/ 0 h 5942013"/>
              <a:gd name="connsiteX2" fmla="*/ 4828505 w 5162079"/>
              <a:gd name="connsiteY2" fmla="*/ 0 h 5942013"/>
              <a:gd name="connsiteX3" fmla="*/ 5162079 w 5162079"/>
              <a:gd name="connsiteY3" fmla="*/ 0 h 5942013"/>
              <a:gd name="connsiteX4" fmla="*/ 5162079 w 5162079"/>
              <a:gd name="connsiteY4" fmla="*/ 333574 h 5942013"/>
              <a:gd name="connsiteX5" fmla="*/ 5162079 w 5162079"/>
              <a:gd name="connsiteY5" fmla="*/ 1146175 h 5942013"/>
              <a:gd name="connsiteX6" fmla="*/ 5162079 w 5162079"/>
              <a:gd name="connsiteY6" fmla="*/ 5608439 h 5942013"/>
              <a:gd name="connsiteX7" fmla="*/ 4828505 w 5162079"/>
              <a:gd name="connsiteY7" fmla="*/ 5942013 h 5942013"/>
              <a:gd name="connsiteX8" fmla="*/ 333574 w 5162079"/>
              <a:gd name="connsiteY8" fmla="*/ 5942013 h 5942013"/>
              <a:gd name="connsiteX9" fmla="*/ 0 w 5162079"/>
              <a:gd name="connsiteY9" fmla="*/ 5608439 h 5942013"/>
              <a:gd name="connsiteX10" fmla="*/ 0 w 5162079"/>
              <a:gd name="connsiteY10" fmla="*/ 333574 h 5942013"/>
              <a:gd name="connsiteX11" fmla="*/ 333574 w 5162079"/>
              <a:gd name="connsiteY11" fmla="*/ 0 h 594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62079" h="5942013">
                <a:moveTo>
                  <a:pt x="333574" y="0"/>
                </a:moveTo>
                <a:lnTo>
                  <a:pt x="3350953" y="0"/>
                </a:lnTo>
                <a:lnTo>
                  <a:pt x="4828505" y="0"/>
                </a:lnTo>
                <a:lnTo>
                  <a:pt x="5162079" y="0"/>
                </a:lnTo>
                <a:lnTo>
                  <a:pt x="5162079" y="333574"/>
                </a:lnTo>
                <a:lnTo>
                  <a:pt x="5162079" y="1146175"/>
                </a:lnTo>
                <a:lnTo>
                  <a:pt x="5162079" y="5608439"/>
                </a:lnTo>
                <a:cubicBezTo>
                  <a:pt x="5162079" y="5792667"/>
                  <a:pt x="5012733" y="5942013"/>
                  <a:pt x="4828505" y="5942013"/>
                </a:cubicBezTo>
                <a:lnTo>
                  <a:pt x="333574" y="5942013"/>
                </a:lnTo>
                <a:cubicBezTo>
                  <a:pt x="149346" y="5942013"/>
                  <a:pt x="0" y="5792667"/>
                  <a:pt x="0" y="5608439"/>
                </a:cubicBezTo>
                <a:lnTo>
                  <a:pt x="0" y="333574"/>
                </a:lnTo>
                <a:cubicBezTo>
                  <a:pt x="0" y="149346"/>
                  <a:pt x="149346" y="0"/>
                  <a:pt x="333574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28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1092200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5960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2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371600"/>
            <a:ext cx="11521757" cy="1828800"/>
          </a:xfrm>
        </p:spPr>
        <p:txBody>
          <a:bodyPr lIns="91440" rIns="91440" anchor="t" anchorCtr="0">
            <a:no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62A543-3733-441F-8567-155CE2234F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 flipH="1">
            <a:off x="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548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3074" y="1293432"/>
            <a:ext cx="11245851" cy="1417320"/>
          </a:xfrm>
          <a:prstGeom prst="rect">
            <a:avLst/>
          </a:prstGeom>
        </p:spPr>
        <p:txBody>
          <a:bodyPr tIns="0" bIns="0"/>
          <a:lstStyle>
            <a:lvl1pPr marL="0" indent="0" algn="ctr">
              <a:buFont typeface="Arial" panose="020B0604020202020204" pitchFamily="34" charset="0"/>
              <a:buNone/>
              <a:defRPr sz="2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5C1E8D-83E2-FC4D-B314-9FA32D43F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6281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 3 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28E9C-9F91-0C4D-9FC8-C8EA50B0E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F5285D-A081-294C-8B7C-643CD3093B9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94278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CC393D8-78DF-5044-87CC-19BEA305047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15279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645C898-6153-3F41-8C11-0E3A3CE637B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61114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3A12ABD-352C-1741-AEBB-E5208C6B1D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5488" y="1280160"/>
            <a:ext cx="11243437" cy="1600517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681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5D10027-2962-9643-875E-88568B11FD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638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1C002342-B149-7340-8269-90AC2877B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54" y="468283"/>
            <a:ext cx="5165725" cy="261520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– April Governance Committe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705B47E-CF47-E644-B84E-AE3C119DB3B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F7CA070-0CE3-D146-884B-3823599CC7C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70008D5-EB83-7843-83DF-063E050C916F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E797CF-1492-8342-8139-2F8A86F55D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210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7AE24-3326-1146-8D5D-E89A268DD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0662BF3-B2FA-CB48-B280-AD90B7548509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73076" y="1188720"/>
            <a:ext cx="11245850" cy="3520440"/>
          </a:xfrm>
          <a:prstGeom prst="rect">
            <a:avLst/>
          </a:prstGeom>
        </p:spPr>
        <p:txBody>
          <a:bodyPr lIns="137160" tIns="0" rIns="91440" bIns="0" numCol="2" spcCol="457200" anchor="t" anchorCtr="0"/>
          <a:lstStyle>
            <a:lvl1pPr marL="0" marR="0" indent="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dirty="0">
              <a:latin typeface="Speedee" panose="020B0603030502020204" pitchFamily="34" charset="0"/>
            </a:endParaRP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BE78C6-C573-FD4B-984B-0E74C4E81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882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281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cke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95E225-00A7-D24B-9956-20D6DF1B603D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BA049C9F-A642-5A44-B0E2-036C05BCB27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173C8AF-5B46-CB4C-9067-D09F1C8E9E92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7946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Half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9C9FB6-4D52-4E0A-B2EE-0F6091740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74" y="457200"/>
            <a:ext cx="11250787" cy="2971800"/>
          </a:xfrm>
          <a:custGeom>
            <a:avLst/>
            <a:gdLst>
              <a:gd name="connsiteX0" fmla="*/ 0 w 11245851"/>
              <a:gd name="connsiteY0" fmla="*/ 278339 h 2971800"/>
              <a:gd name="connsiteX1" fmla="*/ 278339 w 11245851"/>
              <a:gd name="connsiteY1" fmla="*/ 0 h 2971800"/>
              <a:gd name="connsiteX2" fmla="*/ 10967512 w 11245851"/>
              <a:gd name="connsiteY2" fmla="*/ 0 h 2971800"/>
              <a:gd name="connsiteX3" fmla="*/ 11245851 w 11245851"/>
              <a:gd name="connsiteY3" fmla="*/ 278339 h 2971800"/>
              <a:gd name="connsiteX4" fmla="*/ 11245851 w 11245851"/>
              <a:gd name="connsiteY4" fmla="*/ 2693461 h 2971800"/>
              <a:gd name="connsiteX5" fmla="*/ 10967512 w 11245851"/>
              <a:gd name="connsiteY5" fmla="*/ 2971800 h 2971800"/>
              <a:gd name="connsiteX6" fmla="*/ 278339 w 11245851"/>
              <a:gd name="connsiteY6" fmla="*/ 2971800 h 2971800"/>
              <a:gd name="connsiteX7" fmla="*/ 0 w 11245851"/>
              <a:gd name="connsiteY7" fmla="*/ 2693461 h 2971800"/>
              <a:gd name="connsiteX8" fmla="*/ 0 w 11245851"/>
              <a:gd name="connsiteY8" fmla="*/ 278339 h 2971800"/>
              <a:gd name="connsiteX0" fmla="*/ 0 w 11858938"/>
              <a:gd name="connsiteY0" fmla="*/ 278339 h 2971800"/>
              <a:gd name="connsiteX1" fmla="*/ 278339 w 11858938"/>
              <a:gd name="connsiteY1" fmla="*/ 0 h 2971800"/>
              <a:gd name="connsiteX2" fmla="*/ 10967512 w 11858938"/>
              <a:gd name="connsiteY2" fmla="*/ 0 h 2971800"/>
              <a:gd name="connsiteX3" fmla="*/ 11245851 w 11858938"/>
              <a:gd name="connsiteY3" fmla="*/ 2693461 h 2971800"/>
              <a:gd name="connsiteX4" fmla="*/ 10967512 w 11858938"/>
              <a:gd name="connsiteY4" fmla="*/ 2971800 h 2971800"/>
              <a:gd name="connsiteX5" fmla="*/ 278339 w 11858938"/>
              <a:gd name="connsiteY5" fmla="*/ 2971800 h 2971800"/>
              <a:gd name="connsiteX6" fmla="*/ 0 w 11858938"/>
              <a:gd name="connsiteY6" fmla="*/ 2693461 h 2971800"/>
              <a:gd name="connsiteX7" fmla="*/ 0 w 11858938"/>
              <a:gd name="connsiteY7" fmla="*/ 278339 h 2971800"/>
              <a:gd name="connsiteX0" fmla="*/ 0 w 12061877"/>
              <a:gd name="connsiteY0" fmla="*/ 278339 h 2971800"/>
              <a:gd name="connsiteX1" fmla="*/ 278339 w 12061877"/>
              <a:gd name="connsiteY1" fmla="*/ 0 h 2971800"/>
              <a:gd name="connsiteX2" fmla="*/ 11250733 w 12061877"/>
              <a:gd name="connsiteY2" fmla="*/ 0 h 2971800"/>
              <a:gd name="connsiteX3" fmla="*/ 11245851 w 12061877"/>
              <a:gd name="connsiteY3" fmla="*/ 2693461 h 2971800"/>
              <a:gd name="connsiteX4" fmla="*/ 10967512 w 12061877"/>
              <a:gd name="connsiteY4" fmla="*/ 2971800 h 2971800"/>
              <a:gd name="connsiteX5" fmla="*/ 278339 w 12061877"/>
              <a:gd name="connsiteY5" fmla="*/ 2971800 h 2971800"/>
              <a:gd name="connsiteX6" fmla="*/ 0 w 12061877"/>
              <a:gd name="connsiteY6" fmla="*/ 2693461 h 2971800"/>
              <a:gd name="connsiteX7" fmla="*/ 0 w 12061877"/>
              <a:gd name="connsiteY7" fmla="*/ 278339 h 2971800"/>
              <a:gd name="connsiteX0" fmla="*/ 0 w 11327392"/>
              <a:gd name="connsiteY0" fmla="*/ 278339 h 2971800"/>
              <a:gd name="connsiteX1" fmla="*/ 278339 w 11327392"/>
              <a:gd name="connsiteY1" fmla="*/ 0 h 2971800"/>
              <a:gd name="connsiteX2" fmla="*/ 11250733 w 11327392"/>
              <a:gd name="connsiteY2" fmla="*/ 0 h 2971800"/>
              <a:gd name="connsiteX3" fmla="*/ 11245851 w 11327392"/>
              <a:gd name="connsiteY3" fmla="*/ 2693461 h 2971800"/>
              <a:gd name="connsiteX4" fmla="*/ 10967512 w 11327392"/>
              <a:gd name="connsiteY4" fmla="*/ 2971800 h 2971800"/>
              <a:gd name="connsiteX5" fmla="*/ 278339 w 11327392"/>
              <a:gd name="connsiteY5" fmla="*/ 2971800 h 2971800"/>
              <a:gd name="connsiteX6" fmla="*/ 0 w 11327392"/>
              <a:gd name="connsiteY6" fmla="*/ 2693461 h 2971800"/>
              <a:gd name="connsiteX7" fmla="*/ 0 w 11327392"/>
              <a:gd name="connsiteY7" fmla="*/ 278339 h 2971800"/>
              <a:gd name="connsiteX0" fmla="*/ 0 w 11250733"/>
              <a:gd name="connsiteY0" fmla="*/ 278339 h 2971800"/>
              <a:gd name="connsiteX1" fmla="*/ 278339 w 11250733"/>
              <a:gd name="connsiteY1" fmla="*/ 0 h 2971800"/>
              <a:gd name="connsiteX2" fmla="*/ 11250733 w 11250733"/>
              <a:gd name="connsiteY2" fmla="*/ 0 h 2971800"/>
              <a:gd name="connsiteX3" fmla="*/ 11245851 w 11250733"/>
              <a:gd name="connsiteY3" fmla="*/ 2693461 h 2971800"/>
              <a:gd name="connsiteX4" fmla="*/ 10967512 w 11250733"/>
              <a:gd name="connsiteY4" fmla="*/ 2971800 h 2971800"/>
              <a:gd name="connsiteX5" fmla="*/ 278339 w 11250733"/>
              <a:gd name="connsiteY5" fmla="*/ 2971800 h 2971800"/>
              <a:gd name="connsiteX6" fmla="*/ 0 w 11250733"/>
              <a:gd name="connsiteY6" fmla="*/ 2693461 h 2971800"/>
              <a:gd name="connsiteX7" fmla="*/ 0 w 11250733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50787" h="2971800">
                <a:moveTo>
                  <a:pt x="0" y="278339"/>
                </a:moveTo>
                <a:cubicBezTo>
                  <a:pt x="0" y="124617"/>
                  <a:pt x="124617" y="0"/>
                  <a:pt x="278339" y="0"/>
                </a:cubicBezTo>
                <a:lnTo>
                  <a:pt x="11250733" y="0"/>
                </a:lnTo>
                <a:cubicBezTo>
                  <a:pt x="11251395" y="313608"/>
                  <a:pt x="11245851" y="2198161"/>
                  <a:pt x="11245851" y="2693461"/>
                </a:cubicBezTo>
                <a:cubicBezTo>
                  <a:pt x="11245851" y="2847183"/>
                  <a:pt x="11121234" y="2971800"/>
                  <a:pt x="10967512" y="2971800"/>
                </a:cubicBezTo>
                <a:lnTo>
                  <a:pt x="278339" y="2971800"/>
                </a:lnTo>
                <a:cubicBezTo>
                  <a:pt x="124617" y="2971800"/>
                  <a:pt x="0" y="2847183"/>
                  <a:pt x="0" y="2693461"/>
                </a:cubicBezTo>
                <a:lnTo>
                  <a:pt x="0" y="278339"/>
                </a:lnTo>
                <a:close/>
              </a:path>
            </a:pathLst>
          </a:custGeom>
          <a:solidFill>
            <a:schemeClr val="accent5"/>
          </a:solidFill>
          <a:ln w="38100">
            <a:noFill/>
            <a:miter lim="800000"/>
          </a:ln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noFill/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075" y="3429000"/>
            <a:ext cx="11245849" cy="3200400"/>
          </a:xfrm>
        </p:spPr>
        <p:txBody>
          <a:bodyPr lIns="0" tIns="0" rIns="0" bIns="0" anchor="ctr" anchorCtr="0"/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177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Square Right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206E935-75A6-4050-BE93-44C6EB65AA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25880"/>
            <a:ext cx="5165725" cy="5074920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4CD852-C37E-B14B-860B-FE42C676A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8188DC-6A49-AE43-B6BF-32186F665D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8876" y="453561"/>
            <a:ext cx="5638345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8345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5636511" y="0"/>
                </a:lnTo>
                <a:cubicBezTo>
                  <a:pt x="5640547" y="2407"/>
                  <a:pt x="5636886" y="4630086"/>
                  <a:pt x="5635349" y="5606669"/>
                </a:cubicBezTo>
                <a:cubicBezTo>
                  <a:pt x="5635349" y="5794761"/>
                  <a:pt x="5482870" y="5947240"/>
                  <a:pt x="5294778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D8097F-9D9E-2647-B5DA-D73437AF743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79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Recangle Left: Brow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865E613-40AA-2042-8BBE-482E69E35B1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656320" y="1737360"/>
            <a:ext cx="3062606" cy="4663439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679306A-E035-CE47-A814-D4626EE1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6319" y="457200"/>
            <a:ext cx="3062607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F1C0D3B4-289D-B34A-939F-B8FEDE5CF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075" y="453561"/>
            <a:ext cx="7724192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7723733"/>
              <a:gd name="connsiteY0" fmla="*/ 352027 h 5947240"/>
              <a:gd name="connsiteX1" fmla="*/ 356202 w 7723733"/>
              <a:gd name="connsiteY1" fmla="*/ 11455 h 5947240"/>
              <a:gd name="connsiteX2" fmla="*/ 7723728 w 7723733"/>
              <a:gd name="connsiteY2" fmla="*/ 0 h 5947240"/>
              <a:gd name="connsiteX3" fmla="*/ 5635349 w 7723733"/>
              <a:gd name="connsiteY3" fmla="*/ 5606669 h 5947240"/>
              <a:gd name="connsiteX4" fmla="*/ 5294778 w 7723733"/>
              <a:gd name="connsiteY4" fmla="*/ 5947240 h 5947240"/>
              <a:gd name="connsiteX5" fmla="*/ 364016 w 7723733"/>
              <a:gd name="connsiteY5" fmla="*/ 5947240 h 5947240"/>
              <a:gd name="connsiteX6" fmla="*/ 7815 w 7723733"/>
              <a:gd name="connsiteY6" fmla="*/ 5598853 h 5947240"/>
              <a:gd name="connsiteX7" fmla="*/ 0 w 772373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5294778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91934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22360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192"/>
              <a:gd name="connsiteY0" fmla="*/ 352027 h 5947240"/>
              <a:gd name="connsiteX1" fmla="*/ 356202 w 7724192"/>
              <a:gd name="connsiteY1" fmla="*/ 11455 h 5947240"/>
              <a:gd name="connsiteX2" fmla="*/ 7723728 w 7724192"/>
              <a:gd name="connsiteY2" fmla="*/ 0 h 5947240"/>
              <a:gd name="connsiteX3" fmla="*/ 7702688 w 7724192"/>
              <a:gd name="connsiteY3" fmla="*/ 5606669 h 5947240"/>
              <a:gd name="connsiteX4" fmla="*/ 7322360 w 7724192"/>
              <a:gd name="connsiteY4" fmla="*/ 5947240 h 5947240"/>
              <a:gd name="connsiteX5" fmla="*/ 364016 w 7724192"/>
              <a:gd name="connsiteY5" fmla="*/ 5947240 h 5947240"/>
              <a:gd name="connsiteX6" fmla="*/ 7815 w 7724192"/>
              <a:gd name="connsiteY6" fmla="*/ 5598853 h 5947240"/>
              <a:gd name="connsiteX7" fmla="*/ 0 w 7724192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4192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7723728" y="0"/>
                </a:lnTo>
                <a:cubicBezTo>
                  <a:pt x="7727764" y="2407"/>
                  <a:pt x="7704225" y="4630086"/>
                  <a:pt x="7702688" y="5606669"/>
                </a:cubicBezTo>
                <a:cubicBezTo>
                  <a:pt x="7702688" y="5794761"/>
                  <a:pt x="7510452" y="5947240"/>
                  <a:pt x="7322360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849A903B-4415-4646-B995-E47A9EDA5D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235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440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5A367CF-DC60-40EA-9DDA-9041D5B07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835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Rounded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307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48BFDC7-BD18-0F4A-9CA2-B7EDF05E7E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67200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4C630D1A-4F2A-EA4A-AEDE-FE3DFA1755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720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120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1CDAB73-EF81-E241-816A-0BFA45F3BD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61324" y="3749040"/>
            <a:ext cx="3663961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AB714AD-04ED-D14E-AA32-32ABD684B0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3082" y="3749040"/>
            <a:ext cx="3652196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6D08B4C-08CB-DB42-9ACF-6D152954B29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3074" y="3749040"/>
            <a:ext cx="3652197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3717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3x Square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880F47F-F674-B44C-A09F-58D1737190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2107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0D4F522-AF5A-F944-8A53-12A92CE142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2711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A64242F8-6C64-BC40-ADF5-0D67C98ABC5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229922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67A0B-1088-E047-9FB4-02B3489565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65A970-4684-2F4D-98F0-4F5379F1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BDD42C-F253-0643-A91B-BB12DB92EA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075" y="1280160"/>
            <a:ext cx="3108325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1331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4x Grid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E79FAC9-EB2E-114E-90BC-D7B50FE68C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624" y="3657599"/>
            <a:ext cx="2748576" cy="2746376"/>
          </a:xfrm>
          <a:custGeom>
            <a:avLst/>
            <a:gdLst>
              <a:gd name="connsiteX0" fmla="*/ 0 w 2743200"/>
              <a:gd name="connsiteY0" fmla="*/ 0 h 2743200"/>
              <a:gd name="connsiteX1" fmla="*/ 2743200 w 2743200"/>
              <a:gd name="connsiteY1" fmla="*/ 0 h 2743200"/>
              <a:gd name="connsiteX2" fmla="*/ 2743200 w 2743200"/>
              <a:gd name="connsiteY2" fmla="*/ 2743200 h 2743200"/>
              <a:gd name="connsiteX3" fmla="*/ 0 w 2743200"/>
              <a:gd name="connsiteY3" fmla="*/ 2743200 h 2743200"/>
              <a:gd name="connsiteX4" fmla="*/ 0 w 2743200"/>
              <a:gd name="connsiteY4" fmla="*/ 0 h 2743200"/>
              <a:gd name="connsiteX0" fmla="*/ 342900 w 3086100"/>
              <a:gd name="connsiteY0" fmla="*/ 0 h 3086100"/>
              <a:gd name="connsiteX1" fmla="*/ 3086100 w 3086100"/>
              <a:gd name="connsiteY1" fmla="*/ 0 h 3086100"/>
              <a:gd name="connsiteX2" fmla="*/ 3086100 w 3086100"/>
              <a:gd name="connsiteY2" fmla="*/ 2743200 h 3086100"/>
              <a:gd name="connsiteX3" fmla="*/ 342900 w 3086100"/>
              <a:gd name="connsiteY3" fmla="*/ 2743200 h 3086100"/>
              <a:gd name="connsiteX4" fmla="*/ 342900 w 3086100"/>
              <a:gd name="connsiteY4" fmla="*/ 0 h 3086100"/>
              <a:gd name="connsiteX0" fmla="*/ 348767 w 3091967"/>
              <a:gd name="connsiteY0" fmla="*/ 0 h 3011102"/>
              <a:gd name="connsiteX1" fmla="*/ 3091967 w 3091967"/>
              <a:gd name="connsiteY1" fmla="*/ 0 h 3011102"/>
              <a:gd name="connsiteX2" fmla="*/ 3091967 w 3091967"/>
              <a:gd name="connsiteY2" fmla="*/ 2743200 h 3011102"/>
              <a:gd name="connsiteX3" fmla="*/ 337143 w 3091967"/>
              <a:gd name="connsiteY3" fmla="*/ 2568844 h 3011102"/>
              <a:gd name="connsiteX4" fmla="*/ 348767 w 3091967"/>
              <a:gd name="connsiteY4" fmla="*/ 0 h 3011102"/>
              <a:gd name="connsiteX0" fmla="*/ 206259 w 2949459"/>
              <a:gd name="connsiteY0" fmla="*/ 0 h 2924885"/>
              <a:gd name="connsiteX1" fmla="*/ 2949459 w 2949459"/>
              <a:gd name="connsiteY1" fmla="*/ 0 h 2924885"/>
              <a:gd name="connsiteX2" fmla="*/ 2949459 w 2949459"/>
              <a:gd name="connsiteY2" fmla="*/ 2743200 h 2924885"/>
              <a:gd name="connsiteX3" fmla="*/ 194635 w 2949459"/>
              <a:gd name="connsiteY3" fmla="*/ 2568844 h 2924885"/>
              <a:gd name="connsiteX4" fmla="*/ 206259 w 2949459"/>
              <a:gd name="connsiteY4" fmla="*/ 0 h 2924885"/>
              <a:gd name="connsiteX0" fmla="*/ 11624 w 2754824"/>
              <a:gd name="connsiteY0" fmla="*/ 0 h 2924885"/>
              <a:gd name="connsiteX1" fmla="*/ 2754824 w 2754824"/>
              <a:gd name="connsiteY1" fmla="*/ 0 h 2924885"/>
              <a:gd name="connsiteX2" fmla="*/ 2754824 w 2754824"/>
              <a:gd name="connsiteY2" fmla="*/ 2743200 h 2924885"/>
              <a:gd name="connsiteX3" fmla="*/ 0 w 2754824"/>
              <a:gd name="connsiteY3" fmla="*/ 2568844 h 2924885"/>
              <a:gd name="connsiteX4" fmla="*/ 11624 w 2754824"/>
              <a:gd name="connsiteY4" fmla="*/ 0 h 2924885"/>
              <a:gd name="connsiteX0" fmla="*/ 64001 w 2807201"/>
              <a:gd name="connsiteY0" fmla="*/ 0 h 2925673"/>
              <a:gd name="connsiteX1" fmla="*/ 2807201 w 2807201"/>
              <a:gd name="connsiteY1" fmla="*/ 0 h 2925673"/>
              <a:gd name="connsiteX2" fmla="*/ 2807201 w 2807201"/>
              <a:gd name="connsiteY2" fmla="*/ 2743200 h 2925673"/>
              <a:gd name="connsiteX3" fmla="*/ 268062 w 2807201"/>
              <a:gd name="connsiteY3" fmla="*/ 2657960 h 2925673"/>
              <a:gd name="connsiteX4" fmla="*/ 52377 w 2807201"/>
              <a:gd name="connsiteY4" fmla="*/ 2568844 h 2925673"/>
              <a:gd name="connsiteX5" fmla="*/ 64001 w 2807201"/>
              <a:gd name="connsiteY5" fmla="*/ 0 h 2925673"/>
              <a:gd name="connsiteX0" fmla="*/ 93513 w 2836713"/>
              <a:gd name="connsiteY0" fmla="*/ 0 h 2946704"/>
              <a:gd name="connsiteX1" fmla="*/ 2836713 w 2836713"/>
              <a:gd name="connsiteY1" fmla="*/ 0 h 2946704"/>
              <a:gd name="connsiteX2" fmla="*/ 2836713 w 2836713"/>
              <a:gd name="connsiteY2" fmla="*/ 2743200 h 2946704"/>
              <a:gd name="connsiteX3" fmla="*/ 251079 w 2836713"/>
              <a:gd name="connsiteY3" fmla="*/ 2743201 h 2946704"/>
              <a:gd name="connsiteX4" fmla="*/ 81889 w 2836713"/>
              <a:gd name="connsiteY4" fmla="*/ 2568844 h 2946704"/>
              <a:gd name="connsiteX5" fmla="*/ 93513 w 2836713"/>
              <a:gd name="connsiteY5" fmla="*/ 0 h 2946704"/>
              <a:gd name="connsiteX0" fmla="*/ 21496 w 2764696"/>
              <a:gd name="connsiteY0" fmla="*/ 0 h 2946704"/>
              <a:gd name="connsiteX1" fmla="*/ 2764696 w 2764696"/>
              <a:gd name="connsiteY1" fmla="*/ 0 h 2946704"/>
              <a:gd name="connsiteX2" fmla="*/ 2764696 w 2764696"/>
              <a:gd name="connsiteY2" fmla="*/ 2743200 h 2946704"/>
              <a:gd name="connsiteX3" fmla="*/ 179062 w 2764696"/>
              <a:gd name="connsiteY3" fmla="*/ 2743201 h 2946704"/>
              <a:gd name="connsiteX4" fmla="*/ 9872 w 2764696"/>
              <a:gd name="connsiteY4" fmla="*/ 2568844 h 2946704"/>
              <a:gd name="connsiteX5" fmla="*/ 21496 w 2764696"/>
              <a:gd name="connsiteY5" fmla="*/ 0 h 2946704"/>
              <a:gd name="connsiteX0" fmla="*/ 11927 w 2755127"/>
              <a:gd name="connsiteY0" fmla="*/ 0 h 2946704"/>
              <a:gd name="connsiteX1" fmla="*/ 2755127 w 2755127"/>
              <a:gd name="connsiteY1" fmla="*/ 0 h 2946704"/>
              <a:gd name="connsiteX2" fmla="*/ 2755127 w 2755127"/>
              <a:gd name="connsiteY2" fmla="*/ 2743200 h 2946704"/>
              <a:gd name="connsiteX3" fmla="*/ 169493 w 2755127"/>
              <a:gd name="connsiteY3" fmla="*/ 2743201 h 2946704"/>
              <a:gd name="connsiteX4" fmla="*/ 303 w 2755127"/>
              <a:gd name="connsiteY4" fmla="*/ 2568844 h 2946704"/>
              <a:gd name="connsiteX5" fmla="*/ 11927 w 2755127"/>
              <a:gd name="connsiteY5" fmla="*/ 0 h 2946704"/>
              <a:gd name="connsiteX0" fmla="*/ 5611 w 2748811"/>
              <a:gd name="connsiteY0" fmla="*/ 0 h 2946704"/>
              <a:gd name="connsiteX1" fmla="*/ 2748811 w 2748811"/>
              <a:gd name="connsiteY1" fmla="*/ 0 h 2946704"/>
              <a:gd name="connsiteX2" fmla="*/ 2748811 w 2748811"/>
              <a:gd name="connsiteY2" fmla="*/ 2743200 h 2946704"/>
              <a:gd name="connsiteX3" fmla="*/ 163177 w 2748811"/>
              <a:gd name="connsiteY3" fmla="*/ 2743201 h 2946704"/>
              <a:gd name="connsiteX4" fmla="*/ 337 w 2748811"/>
              <a:gd name="connsiteY4" fmla="*/ 2527569 h 2946704"/>
              <a:gd name="connsiteX5" fmla="*/ 5611 w 2748811"/>
              <a:gd name="connsiteY5" fmla="*/ 0 h 2946704"/>
              <a:gd name="connsiteX0" fmla="*/ 18815 w 2762015"/>
              <a:gd name="connsiteY0" fmla="*/ 0 h 2947578"/>
              <a:gd name="connsiteX1" fmla="*/ 2762015 w 2762015"/>
              <a:gd name="connsiteY1" fmla="*/ 0 h 2947578"/>
              <a:gd name="connsiteX2" fmla="*/ 2762015 w 2762015"/>
              <a:gd name="connsiteY2" fmla="*/ 2743200 h 2947578"/>
              <a:gd name="connsiteX3" fmla="*/ 208131 w 2762015"/>
              <a:gd name="connsiteY3" fmla="*/ 2746376 h 2947578"/>
              <a:gd name="connsiteX4" fmla="*/ 13541 w 2762015"/>
              <a:gd name="connsiteY4" fmla="*/ 2527569 h 2947578"/>
              <a:gd name="connsiteX5" fmla="*/ 18815 w 2762015"/>
              <a:gd name="connsiteY5" fmla="*/ 0 h 2947578"/>
              <a:gd name="connsiteX0" fmla="*/ 5275 w 2748475"/>
              <a:gd name="connsiteY0" fmla="*/ 0 h 2947578"/>
              <a:gd name="connsiteX1" fmla="*/ 2748475 w 2748475"/>
              <a:gd name="connsiteY1" fmla="*/ 0 h 2947578"/>
              <a:gd name="connsiteX2" fmla="*/ 2748475 w 2748475"/>
              <a:gd name="connsiteY2" fmla="*/ 2743200 h 2947578"/>
              <a:gd name="connsiteX3" fmla="*/ 194591 w 2748475"/>
              <a:gd name="connsiteY3" fmla="*/ 2746376 h 2947578"/>
              <a:gd name="connsiteX4" fmla="*/ 1 w 2748475"/>
              <a:gd name="connsiteY4" fmla="*/ 2527569 h 2947578"/>
              <a:gd name="connsiteX5" fmla="*/ 5275 w 2748475"/>
              <a:gd name="connsiteY5" fmla="*/ 0 h 2947578"/>
              <a:gd name="connsiteX0" fmla="*/ 5376 w 2748576"/>
              <a:gd name="connsiteY0" fmla="*/ 0 h 2947578"/>
              <a:gd name="connsiteX1" fmla="*/ 2748576 w 2748576"/>
              <a:gd name="connsiteY1" fmla="*/ 0 h 2947578"/>
              <a:gd name="connsiteX2" fmla="*/ 2748576 w 2748576"/>
              <a:gd name="connsiteY2" fmla="*/ 2743200 h 2947578"/>
              <a:gd name="connsiteX3" fmla="*/ 194692 w 2748576"/>
              <a:gd name="connsiteY3" fmla="*/ 2746376 h 2947578"/>
              <a:gd name="connsiteX4" fmla="*/ 102 w 2748576"/>
              <a:gd name="connsiteY4" fmla="*/ 2527569 h 2947578"/>
              <a:gd name="connsiteX5" fmla="*/ 5376 w 2748576"/>
              <a:gd name="connsiteY5" fmla="*/ 0 h 2947578"/>
              <a:gd name="connsiteX0" fmla="*/ 5376 w 2748576"/>
              <a:gd name="connsiteY0" fmla="*/ 0 h 2940311"/>
              <a:gd name="connsiteX1" fmla="*/ 2748576 w 2748576"/>
              <a:gd name="connsiteY1" fmla="*/ 0 h 2940311"/>
              <a:gd name="connsiteX2" fmla="*/ 2748576 w 2748576"/>
              <a:gd name="connsiteY2" fmla="*/ 2743200 h 2940311"/>
              <a:gd name="connsiteX3" fmla="*/ 194692 w 2748576"/>
              <a:gd name="connsiteY3" fmla="*/ 2746376 h 2940311"/>
              <a:gd name="connsiteX4" fmla="*/ 102 w 2748576"/>
              <a:gd name="connsiteY4" fmla="*/ 2527569 h 2940311"/>
              <a:gd name="connsiteX5" fmla="*/ 5376 w 2748576"/>
              <a:gd name="connsiteY5" fmla="*/ 0 h 2940311"/>
              <a:gd name="connsiteX0" fmla="*/ 5376 w 2748576"/>
              <a:gd name="connsiteY0" fmla="*/ 0 h 2746376"/>
              <a:gd name="connsiteX1" fmla="*/ 2748576 w 2748576"/>
              <a:gd name="connsiteY1" fmla="*/ 0 h 2746376"/>
              <a:gd name="connsiteX2" fmla="*/ 2748576 w 2748576"/>
              <a:gd name="connsiteY2" fmla="*/ 2743200 h 2746376"/>
              <a:gd name="connsiteX3" fmla="*/ 194692 w 2748576"/>
              <a:gd name="connsiteY3" fmla="*/ 2746376 h 2746376"/>
              <a:gd name="connsiteX4" fmla="*/ 102 w 2748576"/>
              <a:gd name="connsiteY4" fmla="*/ 2527569 h 2746376"/>
              <a:gd name="connsiteX5" fmla="*/ 5376 w 2748576"/>
              <a:gd name="connsiteY5" fmla="*/ 0 h 27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8576" h="2746376">
                <a:moveTo>
                  <a:pt x="5376" y="0"/>
                </a:moveTo>
                <a:lnTo>
                  <a:pt x="2748576" y="0"/>
                </a:lnTo>
                <a:lnTo>
                  <a:pt x="2748576" y="2743200"/>
                </a:lnTo>
                <a:cubicBezTo>
                  <a:pt x="2430894" y="2748532"/>
                  <a:pt x="476029" y="2743685"/>
                  <a:pt x="194692" y="2746376"/>
                </a:cubicBezTo>
                <a:cubicBezTo>
                  <a:pt x="76518" y="2740565"/>
                  <a:pt x="-3270" y="2636048"/>
                  <a:pt x="102" y="2527569"/>
                </a:cubicBezTo>
                <a:cubicBezTo>
                  <a:pt x="3474" y="2419090"/>
                  <a:pt x="1501" y="519194"/>
                  <a:pt x="5376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B016DA3-DBA7-1C41-8299-3292E26E35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76360" y="457200"/>
            <a:ext cx="2743200" cy="2514599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2698" y="457200"/>
            <a:ext cx="2749295" cy="3063240"/>
          </a:xfrm>
          <a:custGeom>
            <a:avLst/>
            <a:gdLst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365516 w 2743200"/>
              <a:gd name="connsiteY4" fmla="*/ 3063240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821480"/>
              <a:gd name="connsiteY0" fmla="*/ 0 h 3063240"/>
              <a:gd name="connsiteX1" fmla="*/ 2743200 w 2821480"/>
              <a:gd name="connsiteY1" fmla="*/ 0 h 3063240"/>
              <a:gd name="connsiteX2" fmla="*/ 2743200 w 2821480"/>
              <a:gd name="connsiteY2" fmla="*/ 0 h 3063240"/>
              <a:gd name="connsiteX3" fmla="*/ 2743200 w 2821480"/>
              <a:gd name="connsiteY3" fmla="*/ 2685556 h 3063240"/>
              <a:gd name="connsiteX4" fmla="*/ 2723325 w 2821480"/>
              <a:gd name="connsiteY4" fmla="*/ 3053301 h 3063240"/>
              <a:gd name="connsiteX5" fmla="*/ 0 w 2821480"/>
              <a:gd name="connsiteY5" fmla="*/ 3063240 h 3063240"/>
              <a:gd name="connsiteX6" fmla="*/ 0 w 2821480"/>
              <a:gd name="connsiteY6" fmla="*/ 3063240 h 3063240"/>
              <a:gd name="connsiteX7" fmla="*/ 0 w 2821480"/>
              <a:gd name="connsiteY7" fmla="*/ 377684 h 3063240"/>
              <a:gd name="connsiteX8" fmla="*/ 377684 w 2821480"/>
              <a:gd name="connsiteY8" fmla="*/ 0 h 3063240"/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723325 w 2743200"/>
              <a:gd name="connsiteY4" fmla="*/ 3053301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745994"/>
              <a:gd name="connsiteY0" fmla="*/ 0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77684 w 2745994"/>
              <a:gd name="connsiteY8" fmla="*/ 0 h 3063240"/>
              <a:gd name="connsiteX0" fmla="*/ 318264 w 2745994"/>
              <a:gd name="connsiteY0" fmla="*/ 3301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18264 w 2745994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31469 h 3063240"/>
              <a:gd name="connsiteX8" fmla="*/ 321565 w 2749295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14963 h 3063240"/>
              <a:gd name="connsiteX8" fmla="*/ 321565 w 2749295"/>
              <a:gd name="connsiteY8" fmla="*/ 3301 h 306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49295" h="3063240">
                <a:moveTo>
                  <a:pt x="321565" y="3301"/>
                </a:moveTo>
                <a:lnTo>
                  <a:pt x="2746501" y="0"/>
                </a:lnTo>
                <a:lnTo>
                  <a:pt x="2746501" y="0"/>
                </a:lnTo>
                <a:lnTo>
                  <a:pt x="2746501" y="2685556"/>
                </a:lnTo>
                <a:cubicBezTo>
                  <a:pt x="2746501" y="2894145"/>
                  <a:pt x="2753110" y="3061050"/>
                  <a:pt x="2745999" y="3057175"/>
                </a:cubicBezTo>
                <a:cubicBezTo>
                  <a:pt x="2738888" y="3053300"/>
                  <a:pt x="911076" y="3059927"/>
                  <a:pt x="3301" y="3063240"/>
                </a:cubicBezTo>
                <a:lnTo>
                  <a:pt x="3301" y="3063240"/>
                </a:lnTo>
                <a:cubicBezTo>
                  <a:pt x="2201" y="2152650"/>
                  <a:pt x="1100" y="1225553"/>
                  <a:pt x="0" y="314963"/>
                </a:cubicBezTo>
                <a:cubicBezTo>
                  <a:pt x="0" y="106374"/>
                  <a:pt x="112976" y="3301"/>
                  <a:pt x="321565" y="3301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65CB4C76-4971-1948-BAE9-D05A032525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75814" y="3108960"/>
            <a:ext cx="2743746" cy="3291840"/>
          </a:xfrm>
          <a:custGeom>
            <a:avLst/>
            <a:gdLst>
              <a:gd name="connsiteX0" fmla="*/ 232349 w 2743200"/>
              <a:gd name="connsiteY0" fmla="*/ 0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232349 w 2743200"/>
              <a:gd name="connsiteY8" fmla="*/ 0 h 3291840"/>
              <a:gd name="connsiteX0" fmla="*/ 59043 w 2794746"/>
              <a:gd name="connsiteY0" fmla="*/ 3747 h 3291840"/>
              <a:gd name="connsiteX1" fmla="*/ 2794746 w 2794746"/>
              <a:gd name="connsiteY1" fmla="*/ 0 h 3291840"/>
              <a:gd name="connsiteX2" fmla="*/ 2794746 w 2794746"/>
              <a:gd name="connsiteY2" fmla="*/ 0 h 3291840"/>
              <a:gd name="connsiteX3" fmla="*/ 2794746 w 2794746"/>
              <a:gd name="connsiteY3" fmla="*/ 3059491 h 3291840"/>
              <a:gd name="connsiteX4" fmla="*/ 2562397 w 2794746"/>
              <a:gd name="connsiteY4" fmla="*/ 3291840 h 3291840"/>
              <a:gd name="connsiteX5" fmla="*/ 51546 w 2794746"/>
              <a:gd name="connsiteY5" fmla="*/ 3291840 h 3291840"/>
              <a:gd name="connsiteX6" fmla="*/ 51546 w 2794746"/>
              <a:gd name="connsiteY6" fmla="*/ 3291840 h 3291840"/>
              <a:gd name="connsiteX7" fmla="*/ 51546 w 2794746"/>
              <a:gd name="connsiteY7" fmla="*/ 232349 h 3291840"/>
              <a:gd name="connsiteX8" fmla="*/ 59043 w 2794746"/>
              <a:gd name="connsiteY8" fmla="*/ 3747 h 3291840"/>
              <a:gd name="connsiteX0" fmla="*/ 7497 w 2743200"/>
              <a:gd name="connsiteY0" fmla="*/ 3747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7497 w 2743200"/>
              <a:gd name="connsiteY8" fmla="*/ 3747 h 3291840"/>
              <a:gd name="connsiteX0" fmla="*/ 68 w 2750761"/>
              <a:gd name="connsiteY0" fmla="*/ 7495 h 3291840"/>
              <a:gd name="connsiteX1" fmla="*/ 2750761 w 2750761"/>
              <a:gd name="connsiteY1" fmla="*/ 0 h 3291840"/>
              <a:gd name="connsiteX2" fmla="*/ 2750761 w 2750761"/>
              <a:gd name="connsiteY2" fmla="*/ 0 h 3291840"/>
              <a:gd name="connsiteX3" fmla="*/ 2750761 w 2750761"/>
              <a:gd name="connsiteY3" fmla="*/ 3059491 h 3291840"/>
              <a:gd name="connsiteX4" fmla="*/ 2518412 w 2750761"/>
              <a:gd name="connsiteY4" fmla="*/ 3291840 h 3291840"/>
              <a:gd name="connsiteX5" fmla="*/ 7561 w 2750761"/>
              <a:gd name="connsiteY5" fmla="*/ 3291840 h 3291840"/>
              <a:gd name="connsiteX6" fmla="*/ 7561 w 2750761"/>
              <a:gd name="connsiteY6" fmla="*/ 3291840 h 3291840"/>
              <a:gd name="connsiteX7" fmla="*/ 7561 w 2750761"/>
              <a:gd name="connsiteY7" fmla="*/ 232349 h 3291840"/>
              <a:gd name="connsiteX8" fmla="*/ 68 w 2750761"/>
              <a:gd name="connsiteY8" fmla="*/ 7495 h 3291840"/>
              <a:gd name="connsiteX0" fmla="*/ 0 w 2750693"/>
              <a:gd name="connsiteY0" fmla="*/ 7495 h 3291840"/>
              <a:gd name="connsiteX1" fmla="*/ 2750693 w 2750693"/>
              <a:gd name="connsiteY1" fmla="*/ 0 h 3291840"/>
              <a:gd name="connsiteX2" fmla="*/ 2750693 w 2750693"/>
              <a:gd name="connsiteY2" fmla="*/ 0 h 3291840"/>
              <a:gd name="connsiteX3" fmla="*/ 2750693 w 2750693"/>
              <a:gd name="connsiteY3" fmla="*/ 3059491 h 3291840"/>
              <a:gd name="connsiteX4" fmla="*/ 2518344 w 2750693"/>
              <a:gd name="connsiteY4" fmla="*/ 3291840 h 3291840"/>
              <a:gd name="connsiteX5" fmla="*/ 7493 w 2750693"/>
              <a:gd name="connsiteY5" fmla="*/ 3291840 h 3291840"/>
              <a:gd name="connsiteX6" fmla="*/ 7493 w 2750693"/>
              <a:gd name="connsiteY6" fmla="*/ 3291840 h 3291840"/>
              <a:gd name="connsiteX7" fmla="*/ 0 w 2750693"/>
              <a:gd name="connsiteY7" fmla="*/ 7495 h 3291840"/>
              <a:gd name="connsiteX0" fmla="*/ 2578 w 2743746"/>
              <a:gd name="connsiteY0" fmla="*/ 4320 h 3291840"/>
              <a:gd name="connsiteX1" fmla="*/ 2743746 w 2743746"/>
              <a:gd name="connsiteY1" fmla="*/ 0 h 3291840"/>
              <a:gd name="connsiteX2" fmla="*/ 2743746 w 2743746"/>
              <a:gd name="connsiteY2" fmla="*/ 0 h 3291840"/>
              <a:gd name="connsiteX3" fmla="*/ 2743746 w 2743746"/>
              <a:gd name="connsiteY3" fmla="*/ 3059491 h 3291840"/>
              <a:gd name="connsiteX4" fmla="*/ 2511397 w 2743746"/>
              <a:gd name="connsiteY4" fmla="*/ 3291840 h 3291840"/>
              <a:gd name="connsiteX5" fmla="*/ 546 w 2743746"/>
              <a:gd name="connsiteY5" fmla="*/ 3291840 h 3291840"/>
              <a:gd name="connsiteX6" fmla="*/ 546 w 2743746"/>
              <a:gd name="connsiteY6" fmla="*/ 3291840 h 3291840"/>
              <a:gd name="connsiteX7" fmla="*/ 2578 w 2743746"/>
              <a:gd name="connsiteY7" fmla="*/ 432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43746" h="3291840">
                <a:moveTo>
                  <a:pt x="2578" y="4320"/>
                </a:moveTo>
                <a:lnTo>
                  <a:pt x="2743746" y="0"/>
                </a:lnTo>
                <a:lnTo>
                  <a:pt x="2743746" y="0"/>
                </a:lnTo>
                <a:lnTo>
                  <a:pt x="2743746" y="3059491"/>
                </a:lnTo>
                <a:cubicBezTo>
                  <a:pt x="2743746" y="3187814"/>
                  <a:pt x="2639720" y="3291840"/>
                  <a:pt x="2511397" y="3291840"/>
                </a:cubicBezTo>
                <a:lnTo>
                  <a:pt x="546" y="3291840"/>
                </a:lnTo>
                <a:lnTo>
                  <a:pt x="546" y="3291840"/>
                </a:lnTo>
                <a:cubicBezTo>
                  <a:pt x="-1952" y="2197058"/>
                  <a:pt x="5076" y="1099102"/>
                  <a:pt x="2578" y="432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F44E331-A46F-418D-9D7E-A5E1C5DD23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289010"/>
            <a:ext cx="5165725" cy="5111790"/>
          </a:xfrm>
          <a:prstGeom prst="rect">
            <a:avLst/>
          </a:prstGeom>
        </p:spPr>
        <p:txBody>
          <a:bodyPr anchor="ctr" anchorCtr="0"/>
          <a:lstStyle>
            <a:lvl1pPr marL="285750" indent="-285750">
              <a:buClr>
                <a:schemeClr val="tx1"/>
              </a:buClr>
              <a:buFontTx/>
              <a:buBlip>
                <a:blip r:embed="rId3"/>
              </a:buBlip>
              <a:defRPr sz="20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674C62-10A3-0F47-ADDB-FD34F1BBD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979A9B-1009-BE4D-B89C-EBFA57F7ECB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89443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3A493F-BF4F-4124-8E14-8EDC3C4F574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1187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gol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ld Bar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/>
        </p:nvSpPr>
        <p:spPr>
          <a:xfrm>
            <a:off x="0" y="0"/>
            <a:ext cx="12192000" cy="182880"/>
          </a:xfrm>
          <a:prstGeom prst="rect">
            <a:avLst/>
          </a:prstGeom>
          <a:solidFill>
            <a:srgbClr val="FFB7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4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BE6DB5E-0E37-4144-BDF7-0F5BBEDF68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44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brow">
            <a:extLst>
              <a:ext uri="{FF2B5EF4-FFF2-40B4-BE49-F238E27FC236}">
                <a16:creationId xmlns:a16="http://schemas.microsoft.com/office/drawing/2014/main" id="{48D18D2C-3CAC-4960-81EF-43B50030760B}"/>
              </a:ext>
            </a:extLst>
          </p:cNvPr>
          <p:cNvGrpSpPr/>
          <p:nvPr/>
        </p:nvGrpSpPr>
        <p:grpSpPr>
          <a:xfrm>
            <a:off x="10027920" y="228600"/>
            <a:ext cx="1828800" cy="914400"/>
            <a:chOff x="10027920" y="2606040"/>
            <a:chExt cx="1828800" cy="914400"/>
          </a:xfrm>
          <a:solidFill>
            <a:schemeClr val="accent1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2916CA-482F-410B-8F5F-999B8A5606B0}"/>
                </a:ext>
              </a:extLst>
            </p:cNvPr>
            <p:cNvSpPr/>
            <p:nvPr/>
          </p:nvSpPr>
          <p:spPr>
            <a:xfrm>
              <a:off x="10027920" y="2606040"/>
              <a:ext cx="1828800" cy="1828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2DA3C7-0514-4C41-B1CC-10A18B6A7810}"/>
                </a:ext>
              </a:extLst>
            </p:cNvPr>
            <p:cNvSpPr/>
            <p:nvPr/>
          </p:nvSpPr>
          <p:spPr>
            <a:xfrm>
              <a:off x="11673840" y="2606040"/>
              <a:ext cx="182880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  <p:sp>
        <p:nvSpPr>
          <p:cNvPr id="5" name="Title">
            <a:extLst>
              <a:ext uri="{FF2B5EF4-FFF2-40B4-BE49-F238E27FC236}">
                <a16:creationId xmlns:a16="http://schemas.microsoft.com/office/drawing/2014/main" id="{6B5B6BBA-FD45-41F6-9564-1F7EBBB74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29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15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667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accent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1785AA-E155-4C3C-91CA-8A2106DE8A99}"/>
              </a:ext>
            </a:extLst>
          </p:cNvPr>
          <p:cNvSpPr/>
          <p:nvPr/>
        </p:nvSpPr>
        <p:spPr>
          <a:xfrm>
            <a:off x="4595760" y="1536391"/>
            <a:ext cx="3000480" cy="2458224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B96EA0D-E6D6-4B4A-A2C2-9E820A52F511}"/>
              </a:ext>
            </a:extLst>
          </p:cNvPr>
          <p:cNvSpPr>
            <a:spLocks noChangeAspect="1"/>
          </p:cNvSpPr>
          <p:nvPr/>
        </p:nvSpPr>
        <p:spPr>
          <a:xfrm>
            <a:off x="5233861" y="2011123"/>
            <a:ext cx="1724278" cy="1508760"/>
          </a:xfrm>
          <a:custGeom>
            <a:avLst/>
            <a:gdLst>
              <a:gd name="connsiteX0" fmla="*/ 6578874 w 9147911"/>
              <a:gd name="connsiteY0" fmla="*/ 571751 h 8004510"/>
              <a:gd name="connsiteX1" fmla="*/ 8008235 w 9147911"/>
              <a:gd name="connsiteY1" fmla="*/ 8008322 h 8004510"/>
              <a:gd name="connsiteX2" fmla="*/ 9151723 w 9147911"/>
              <a:gd name="connsiteY2" fmla="*/ 8008322 h 8004510"/>
              <a:gd name="connsiteX3" fmla="*/ 6578874 w 9147911"/>
              <a:gd name="connsiteY3" fmla="*/ 0 h 8004510"/>
              <a:gd name="connsiteX4" fmla="*/ 4577768 w 9147911"/>
              <a:gd name="connsiteY4" fmla="*/ 2763462 h 8004510"/>
              <a:gd name="connsiteX5" fmla="*/ 2572850 w 9147911"/>
              <a:gd name="connsiteY5" fmla="*/ 0 h 8004510"/>
              <a:gd name="connsiteX6" fmla="*/ 0 w 9147911"/>
              <a:gd name="connsiteY6" fmla="*/ 8008322 h 8004510"/>
              <a:gd name="connsiteX7" fmla="*/ 1143489 w 9147911"/>
              <a:gd name="connsiteY7" fmla="*/ 8008322 h 8004510"/>
              <a:gd name="connsiteX8" fmla="*/ 2572850 w 9147911"/>
              <a:gd name="connsiteY8" fmla="*/ 571751 h 8004510"/>
              <a:gd name="connsiteX9" fmla="*/ 4002211 w 9147911"/>
              <a:gd name="connsiteY9" fmla="*/ 7436571 h 8004510"/>
              <a:gd name="connsiteX10" fmla="*/ 5145700 w 9147911"/>
              <a:gd name="connsiteY10" fmla="*/ 7436571 h 8004510"/>
              <a:gd name="connsiteX11" fmla="*/ 6578874 w 9147911"/>
              <a:gd name="connsiteY11" fmla="*/ 571751 h 8004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911" h="8004510">
                <a:moveTo>
                  <a:pt x="6578874" y="571751"/>
                </a:moveTo>
                <a:cubicBezTo>
                  <a:pt x="7367881" y="571751"/>
                  <a:pt x="8008235" y="3903152"/>
                  <a:pt x="8008235" y="8008322"/>
                </a:cubicBezTo>
                <a:lnTo>
                  <a:pt x="9151723" y="8008322"/>
                </a:lnTo>
                <a:cubicBezTo>
                  <a:pt x="9155535" y="3586783"/>
                  <a:pt x="8000611" y="0"/>
                  <a:pt x="6578874" y="0"/>
                </a:cubicBezTo>
                <a:cubicBezTo>
                  <a:pt x="5770808" y="0"/>
                  <a:pt x="5046598" y="1078703"/>
                  <a:pt x="4577768" y="2763462"/>
                </a:cubicBezTo>
                <a:cubicBezTo>
                  <a:pt x="4105125" y="1078703"/>
                  <a:pt x="3384727" y="0"/>
                  <a:pt x="2572850" y="0"/>
                </a:cubicBezTo>
                <a:cubicBezTo>
                  <a:pt x="1151112" y="0"/>
                  <a:pt x="0" y="3586783"/>
                  <a:pt x="0" y="8008322"/>
                </a:cubicBezTo>
                <a:lnTo>
                  <a:pt x="1143489" y="8008322"/>
                </a:lnTo>
                <a:cubicBezTo>
                  <a:pt x="1143489" y="3903152"/>
                  <a:pt x="1783843" y="571751"/>
                  <a:pt x="2572850" y="571751"/>
                </a:cubicBezTo>
                <a:cubicBezTo>
                  <a:pt x="3361857" y="571751"/>
                  <a:pt x="4002211" y="3643958"/>
                  <a:pt x="4002211" y="7436571"/>
                </a:cubicBezTo>
                <a:lnTo>
                  <a:pt x="5145700" y="7436571"/>
                </a:lnTo>
                <a:cubicBezTo>
                  <a:pt x="5149512" y="3647770"/>
                  <a:pt x="5789866" y="571751"/>
                  <a:pt x="6578874" y="571751"/>
                </a:cubicBezTo>
              </a:path>
            </a:pathLst>
          </a:custGeom>
          <a:solidFill>
            <a:schemeClr val="accent1"/>
          </a:solidFill>
          <a:ln w="2437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0144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057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3947" y="3722289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3F72533-155C-ED47-A31B-01FFA5B7A6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731" r="-1"/>
          <a:stretch/>
        </p:blipFill>
        <p:spPr>
          <a:xfrm>
            <a:off x="0" y="0"/>
            <a:ext cx="5085448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D27C231-BF81-0143-B523-B94639D66C3B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616C1E7-B94E-D64B-B001-0EE15BE6C052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E8E8C3E-5B41-0441-AF7A-51F1B9F7FF96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057557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036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657600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A two line titl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2821" y="4293871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39CEB44-9E89-DC41-BCB7-E03D5FB4DA61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E7667E4-8081-BA40-BD0C-76A8F422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08A31E2-D290-1B42-9DA1-78E163F63DF0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B0C82FFF-B591-D246-B684-92C3733D9C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938" t="658" r="1315" b="658"/>
          <a:stretch/>
        </p:blipFill>
        <p:spPr>
          <a:xfrm>
            <a:off x="0" y="0"/>
            <a:ext cx="4221480" cy="6858000"/>
          </a:xfrm>
          <a:prstGeom prst="rect">
            <a:avLst/>
          </a:prstGeom>
        </p:spPr>
      </p:pic>
      <p:pic>
        <p:nvPicPr>
          <p:cNvPr id="9" name="Picture 8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362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/ Sub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2219" y="1234440"/>
            <a:ext cx="5622925" cy="2194560"/>
          </a:xfrm>
        </p:spPr>
        <p:txBody>
          <a:bodyPr anchor="b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219" y="3455634"/>
            <a:ext cx="5622925" cy="2194560"/>
          </a:xfrm>
          <a:prstGeom prst="rect">
            <a:avLst/>
          </a:prstGeo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81B56F1-E620-A94C-A686-EF7251027E6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D6A517E-7CEC-B345-A5D2-995F553E6D61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A2B77D-586F-074A-B95F-85E418DAC161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2396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ith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755" y="2743200"/>
            <a:ext cx="5622925" cy="141732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949E6D-90C8-F24A-9F7F-408D440FC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-3048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720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BDD0D00B-05F5-4C2B-9321-091C04C267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133668" y="5757048"/>
            <a:ext cx="3090672" cy="2743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/>
        </p:nvSpPr>
        <p:spPr>
          <a:xfrm>
            <a:off x="0" y="0"/>
            <a:ext cx="12192000" cy="5760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28600"/>
            <a:ext cx="11522076" cy="5486400"/>
          </a:xfrm>
        </p:spPr>
        <p:txBody>
          <a:bodyPr anchor="ctr" anchorCtr="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1B20ABE-8968-4BCD-BA52-34D8C9D91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3EAE05-B1AD-4EBB-B8EA-B0288B3917D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838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C6089AD-576A-6647-8C8E-DCC31DE52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93" y="457201"/>
            <a:ext cx="11240741" cy="5952106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05854-1F0B-D045-B7C0-F5BDDC1B72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3085362"/>
            <a:ext cx="8778240" cy="685800"/>
          </a:xfrm>
          <a:noFill/>
        </p:spPr>
        <p:txBody>
          <a:bodyPr lIns="137160" rIns="137160"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336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57">
          <p15:clr>
            <a:srgbClr val="FBAE40"/>
          </p15:clr>
        </p15:guide>
        <p15:guide id="2" pos="721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Full: Titl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95A7BC1-3835-7A41-874C-6B4214A8A9F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75488" y="453561"/>
            <a:ext cx="11248434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0 w 10733155"/>
              <a:gd name="connsiteY0" fmla="*/ 344211 h 5956667"/>
              <a:gd name="connsiteX1" fmla="*/ 340571 w 10733155"/>
              <a:gd name="connsiteY1" fmla="*/ 3640 h 5956667"/>
              <a:gd name="connsiteX2" fmla="*/ 5159773 w 10733155"/>
              <a:gd name="connsiteY2" fmla="*/ 0 h 5956667"/>
              <a:gd name="connsiteX3" fmla="*/ 5158611 w 10733155"/>
              <a:gd name="connsiteY3" fmla="*/ 5606669 h 5956667"/>
              <a:gd name="connsiteX4" fmla="*/ 10728646 w 10733155"/>
              <a:gd name="connsiteY4" fmla="*/ 5956667 h 5956667"/>
              <a:gd name="connsiteX5" fmla="*/ 340571 w 10733155"/>
              <a:gd name="connsiteY5" fmla="*/ 5947240 h 5956667"/>
              <a:gd name="connsiteX6" fmla="*/ 0 w 10733155"/>
              <a:gd name="connsiteY6" fmla="*/ 5606669 h 5956667"/>
              <a:gd name="connsiteX7" fmla="*/ 0 w 10733155"/>
              <a:gd name="connsiteY7" fmla="*/ 344211 h 5956667"/>
              <a:gd name="connsiteX0" fmla="*/ 0 w 11248326"/>
              <a:gd name="connsiteY0" fmla="*/ 344211 h 5956667"/>
              <a:gd name="connsiteX1" fmla="*/ 340571 w 11248326"/>
              <a:gd name="connsiteY1" fmla="*/ 3640 h 5956667"/>
              <a:gd name="connsiteX2" fmla="*/ 5159773 w 11248326"/>
              <a:gd name="connsiteY2" fmla="*/ 0 h 5956667"/>
              <a:gd name="connsiteX3" fmla="*/ 11248326 w 11248326"/>
              <a:gd name="connsiteY3" fmla="*/ 5616096 h 5956667"/>
              <a:gd name="connsiteX4" fmla="*/ 10728646 w 11248326"/>
              <a:gd name="connsiteY4" fmla="*/ 5956667 h 5956667"/>
              <a:gd name="connsiteX5" fmla="*/ 340571 w 11248326"/>
              <a:gd name="connsiteY5" fmla="*/ 5947240 h 5956667"/>
              <a:gd name="connsiteX6" fmla="*/ 0 w 11248326"/>
              <a:gd name="connsiteY6" fmla="*/ 5606669 h 5956667"/>
              <a:gd name="connsiteX7" fmla="*/ 0 w 11248326"/>
              <a:gd name="connsiteY7" fmla="*/ 344211 h 5956667"/>
              <a:gd name="connsiteX0" fmla="*/ 0 w 11248580"/>
              <a:gd name="connsiteY0" fmla="*/ 340571 h 5953027"/>
              <a:gd name="connsiteX1" fmla="*/ 340571 w 11248580"/>
              <a:gd name="connsiteY1" fmla="*/ 0 h 5953027"/>
              <a:gd name="connsiteX2" fmla="*/ 11240062 w 11248580"/>
              <a:gd name="connsiteY2" fmla="*/ 15214 h 5953027"/>
              <a:gd name="connsiteX3" fmla="*/ 11248326 w 11248580"/>
              <a:gd name="connsiteY3" fmla="*/ 5612456 h 5953027"/>
              <a:gd name="connsiteX4" fmla="*/ 10728646 w 11248580"/>
              <a:gd name="connsiteY4" fmla="*/ 5953027 h 5953027"/>
              <a:gd name="connsiteX5" fmla="*/ 340571 w 11248580"/>
              <a:gd name="connsiteY5" fmla="*/ 5943600 h 5953027"/>
              <a:gd name="connsiteX6" fmla="*/ 0 w 11248580"/>
              <a:gd name="connsiteY6" fmla="*/ 5603029 h 5953027"/>
              <a:gd name="connsiteX7" fmla="*/ 0 w 11248580"/>
              <a:gd name="connsiteY7" fmla="*/ 340571 h 5953027"/>
              <a:gd name="connsiteX0" fmla="*/ 0 w 11248331"/>
              <a:gd name="connsiteY0" fmla="*/ 340571 h 5953027"/>
              <a:gd name="connsiteX1" fmla="*/ 340571 w 11248331"/>
              <a:gd name="connsiteY1" fmla="*/ 0 h 5953027"/>
              <a:gd name="connsiteX2" fmla="*/ 10910123 w 11248331"/>
              <a:gd name="connsiteY2" fmla="*/ 580822 h 5953027"/>
              <a:gd name="connsiteX3" fmla="*/ 11248326 w 11248331"/>
              <a:gd name="connsiteY3" fmla="*/ 5612456 h 5953027"/>
              <a:gd name="connsiteX4" fmla="*/ 10728646 w 11248331"/>
              <a:gd name="connsiteY4" fmla="*/ 5953027 h 5953027"/>
              <a:gd name="connsiteX5" fmla="*/ 340571 w 11248331"/>
              <a:gd name="connsiteY5" fmla="*/ 5943600 h 5953027"/>
              <a:gd name="connsiteX6" fmla="*/ 0 w 11248331"/>
              <a:gd name="connsiteY6" fmla="*/ 5603029 h 5953027"/>
              <a:gd name="connsiteX7" fmla="*/ 0 w 11248331"/>
              <a:gd name="connsiteY7" fmla="*/ 340571 h 5953027"/>
              <a:gd name="connsiteX0" fmla="*/ 0 w 11248434"/>
              <a:gd name="connsiteY0" fmla="*/ 344211 h 5956667"/>
              <a:gd name="connsiteX1" fmla="*/ 340571 w 11248434"/>
              <a:gd name="connsiteY1" fmla="*/ 3640 h 5956667"/>
              <a:gd name="connsiteX2" fmla="*/ 11230634 w 11248434"/>
              <a:gd name="connsiteY2" fmla="*/ 0 h 5956667"/>
              <a:gd name="connsiteX3" fmla="*/ 11248326 w 11248434"/>
              <a:gd name="connsiteY3" fmla="*/ 5616096 h 5956667"/>
              <a:gd name="connsiteX4" fmla="*/ 10728646 w 11248434"/>
              <a:gd name="connsiteY4" fmla="*/ 5956667 h 5956667"/>
              <a:gd name="connsiteX5" fmla="*/ 340571 w 11248434"/>
              <a:gd name="connsiteY5" fmla="*/ 5947240 h 5956667"/>
              <a:gd name="connsiteX6" fmla="*/ 0 w 11248434"/>
              <a:gd name="connsiteY6" fmla="*/ 5606669 h 5956667"/>
              <a:gd name="connsiteX7" fmla="*/ 0 w 11248434"/>
              <a:gd name="connsiteY7" fmla="*/ 344211 h 5956667"/>
              <a:gd name="connsiteX0" fmla="*/ 0 w 11248434"/>
              <a:gd name="connsiteY0" fmla="*/ 344211 h 5947240"/>
              <a:gd name="connsiteX1" fmla="*/ 340571 w 11248434"/>
              <a:gd name="connsiteY1" fmla="*/ 3640 h 5947240"/>
              <a:gd name="connsiteX2" fmla="*/ 11230634 w 11248434"/>
              <a:gd name="connsiteY2" fmla="*/ 0 h 5947240"/>
              <a:gd name="connsiteX3" fmla="*/ 11248326 w 11248434"/>
              <a:gd name="connsiteY3" fmla="*/ 5616096 h 5947240"/>
              <a:gd name="connsiteX4" fmla="*/ 10912676 w 11248434"/>
              <a:gd name="connsiteY4" fmla="*/ 5945165 h 5947240"/>
              <a:gd name="connsiteX5" fmla="*/ 340571 w 11248434"/>
              <a:gd name="connsiteY5" fmla="*/ 5947240 h 5947240"/>
              <a:gd name="connsiteX6" fmla="*/ 0 w 11248434"/>
              <a:gd name="connsiteY6" fmla="*/ 5606669 h 5947240"/>
              <a:gd name="connsiteX7" fmla="*/ 0 w 11248434"/>
              <a:gd name="connsiteY7" fmla="*/ 344211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48434" h="5947240">
                <a:moveTo>
                  <a:pt x="0" y="344211"/>
                </a:moveTo>
                <a:cubicBezTo>
                  <a:pt x="0" y="156119"/>
                  <a:pt x="152479" y="3640"/>
                  <a:pt x="340571" y="3640"/>
                </a:cubicBezTo>
                <a:lnTo>
                  <a:pt x="11230634" y="0"/>
                </a:lnTo>
                <a:cubicBezTo>
                  <a:pt x="11234670" y="2407"/>
                  <a:pt x="11249863" y="4639513"/>
                  <a:pt x="11248326" y="5616096"/>
                </a:cubicBezTo>
                <a:cubicBezTo>
                  <a:pt x="11248326" y="5804188"/>
                  <a:pt x="11100768" y="5945165"/>
                  <a:pt x="10912676" y="5945165"/>
                </a:cubicBezTo>
                <a:lnTo>
                  <a:pt x="340571" y="5947240"/>
                </a:lnTo>
                <a:cubicBezTo>
                  <a:pt x="152479" y="5947240"/>
                  <a:pt x="0" y="5794761"/>
                  <a:pt x="0" y="5606669"/>
                </a:cubicBezTo>
                <a:lnTo>
                  <a:pt x="0" y="344211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l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865BA6F-2010-6747-8D16-9D3D5F407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1234440"/>
            <a:ext cx="5486400" cy="2423160"/>
          </a:xfrm>
          <a:noFill/>
        </p:spPr>
        <p:txBody>
          <a:bodyPr lIns="137160" rIns="137160" anchor="b" anchorCtr="0"/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136A946-2964-A141-8BAF-3CF18AE4F2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3920" y="3657600"/>
            <a:ext cx="5486400" cy="1874520"/>
          </a:xfrm>
          <a:prstGeom prst="rect">
            <a:avLst/>
          </a:prstGeom>
        </p:spPr>
        <p:txBody>
          <a:bodyPr lIns="137160" tIns="182880" rIns="137160" bIns="182880" anchor="t" anchorCtr="0"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15F3D-AC04-B64A-B33D-4946D9634B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933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Square Left: Title and Sub w/ Br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E067813-9DC8-BE45-A5CC-D2B27E417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25" y="2310673"/>
            <a:ext cx="4846955" cy="1314975"/>
          </a:xfrm>
        </p:spPr>
        <p:txBody>
          <a:bodyPr wrap="square" rIns="137160" anchor="b" anchorCtr="0">
            <a:spAutoFit/>
          </a:bodyPr>
          <a:lstStyle>
            <a:lvl1pPr algn="r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3A050F-49AA-7D4B-83EE-C84CE0A113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94095-1D80-924F-BABC-3CF3E38EDF4D}"/>
              </a:ext>
            </a:extLst>
          </p:cNvPr>
          <p:cNvGrpSpPr/>
          <p:nvPr/>
        </p:nvGrpSpPr>
        <p:grpSpPr>
          <a:xfrm>
            <a:off x="9748689" y="465429"/>
            <a:ext cx="1968750" cy="960120"/>
            <a:chOff x="9748689" y="465429"/>
            <a:chExt cx="1968750" cy="96012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F7AE0C7-D68C-D149-AA48-35700DF7FEFA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22828B3-84DF-184D-9F6C-53816AD6D3ED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5429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6D31F9B5-2900-F247-A86E-28333F4134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1124" y="3644899"/>
            <a:ext cx="4846955" cy="1155701"/>
          </a:xfrm>
          <a:prstGeom prst="rect">
            <a:avLst/>
          </a:prstGeom>
        </p:spPr>
        <p:txBody>
          <a:bodyPr lIns="137160" tIns="182880" rIns="137160" bIns="182880" anchor="t" anchorCtr="0">
            <a:spAutoFit/>
          </a:bodyPr>
          <a:lstStyle>
            <a:lvl1pPr marL="0" indent="0" algn="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2AC46A0D-AD84-9648-8345-B953D8E0AE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5016" y="454025"/>
            <a:ext cx="5162079" cy="5942013"/>
          </a:xfrm>
          <a:custGeom>
            <a:avLst/>
            <a:gdLst>
              <a:gd name="connsiteX0" fmla="*/ 333574 w 5162079"/>
              <a:gd name="connsiteY0" fmla="*/ 0 h 5942013"/>
              <a:gd name="connsiteX1" fmla="*/ 3350953 w 5162079"/>
              <a:gd name="connsiteY1" fmla="*/ 0 h 5942013"/>
              <a:gd name="connsiteX2" fmla="*/ 4828505 w 5162079"/>
              <a:gd name="connsiteY2" fmla="*/ 0 h 5942013"/>
              <a:gd name="connsiteX3" fmla="*/ 5162079 w 5162079"/>
              <a:gd name="connsiteY3" fmla="*/ 0 h 5942013"/>
              <a:gd name="connsiteX4" fmla="*/ 5162079 w 5162079"/>
              <a:gd name="connsiteY4" fmla="*/ 333574 h 5942013"/>
              <a:gd name="connsiteX5" fmla="*/ 5162079 w 5162079"/>
              <a:gd name="connsiteY5" fmla="*/ 1146175 h 5942013"/>
              <a:gd name="connsiteX6" fmla="*/ 5162079 w 5162079"/>
              <a:gd name="connsiteY6" fmla="*/ 5608439 h 5942013"/>
              <a:gd name="connsiteX7" fmla="*/ 4828505 w 5162079"/>
              <a:gd name="connsiteY7" fmla="*/ 5942013 h 5942013"/>
              <a:gd name="connsiteX8" fmla="*/ 333574 w 5162079"/>
              <a:gd name="connsiteY8" fmla="*/ 5942013 h 5942013"/>
              <a:gd name="connsiteX9" fmla="*/ 0 w 5162079"/>
              <a:gd name="connsiteY9" fmla="*/ 5608439 h 5942013"/>
              <a:gd name="connsiteX10" fmla="*/ 0 w 5162079"/>
              <a:gd name="connsiteY10" fmla="*/ 333574 h 5942013"/>
              <a:gd name="connsiteX11" fmla="*/ 333574 w 5162079"/>
              <a:gd name="connsiteY11" fmla="*/ 0 h 594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62079" h="5942013">
                <a:moveTo>
                  <a:pt x="333574" y="0"/>
                </a:moveTo>
                <a:lnTo>
                  <a:pt x="3350953" y="0"/>
                </a:lnTo>
                <a:lnTo>
                  <a:pt x="4828505" y="0"/>
                </a:lnTo>
                <a:lnTo>
                  <a:pt x="5162079" y="0"/>
                </a:lnTo>
                <a:lnTo>
                  <a:pt x="5162079" y="333574"/>
                </a:lnTo>
                <a:lnTo>
                  <a:pt x="5162079" y="1146175"/>
                </a:lnTo>
                <a:lnTo>
                  <a:pt x="5162079" y="5608439"/>
                </a:lnTo>
                <a:cubicBezTo>
                  <a:pt x="5162079" y="5792667"/>
                  <a:pt x="5012733" y="5942013"/>
                  <a:pt x="4828505" y="5942013"/>
                </a:cubicBezTo>
                <a:lnTo>
                  <a:pt x="333574" y="5942013"/>
                </a:lnTo>
                <a:cubicBezTo>
                  <a:pt x="149346" y="5942013"/>
                  <a:pt x="0" y="5792667"/>
                  <a:pt x="0" y="5608439"/>
                </a:cubicBezTo>
                <a:lnTo>
                  <a:pt x="0" y="333574"/>
                </a:lnTo>
                <a:cubicBezTo>
                  <a:pt x="0" y="149346"/>
                  <a:pt x="149346" y="0"/>
                  <a:pt x="333574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738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1092200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01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239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3074" y="1293432"/>
            <a:ext cx="11245851" cy="1417320"/>
          </a:xfrm>
          <a:prstGeom prst="rect">
            <a:avLst/>
          </a:prstGeom>
        </p:spPr>
        <p:txBody>
          <a:bodyPr tIns="0" bIns="0"/>
          <a:lstStyle>
            <a:lvl1pPr marL="0" indent="0" algn="ctr">
              <a:buFont typeface="Arial" panose="020B0604020202020204" pitchFamily="34" charset="0"/>
              <a:buNone/>
              <a:defRPr sz="2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5C1E8D-83E2-FC4D-B314-9FA32D43F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1162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080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 3 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28E9C-9F91-0C4D-9FC8-C8EA50B0E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F5285D-A081-294C-8B7C-643CD3093B9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94278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CC393D8-78DF-5044-87CC-19BEA305047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15279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645C898-6153-3F41-8C11-0E3A3CE637B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61114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3A12ABD-352C-1741-AEBB-E5208C6B1D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5488" y="1280160"/>
            <a:ext cx="11243437" cy="1600517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9588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7AE24-3326-1146-8D5D-E89A268DD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0662BF3-B2FA-CB48-B280-AD90B7548509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73076" y="1188720"/>
            <a:ext cx="11245850" cy="3520440"/>
          </a:xfrm>
          <a:prstGeom prst="rect">
            <a:avLst/>
          </a:prstGeom>
        </p:spPr>
        <p:txBody>
          <a:bodyPr lIns="137160" tIns="0" rIns="91440" bIns="0" numCol="2" spcCol="457200" anchor="t" anchorCtr="0"/>
          <a:lstStyle>
            <a:lvl1pPr marL="0" marR="0" indent="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dirty="0">
              <a:latin typeface="Speedee" panose="020B0603030502020204" pitchFamily="34" charset="0"/>
            </a:endParaRP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BE78C6-C573-FD4B-984B-0E74C4E81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013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cke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95E225-00A7-D24B-9956-20D6DF1B603D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BA049C9F-A642-5A44-B0E2-036C05BCB27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173C8AF-5B46-CB4C-9067-D09F1C8E9E92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2276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Half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9C9FB6-4D52-4E0A-B2EE-0F6091740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74" y="457200"/>
            <a:ext cx="11250787" cy="2971800"/>
          </a:xfrm>
          <a:custGeom>
            <a:avLst/>
            <a:gdLst>
              <a:gd name="connsiteX0" fmla="*/ 0 w 11245851"/>
              <a:gd name="connsiteY0" fmla="*/ 278339 h 2971800"/>
              <a:gd name="connsiteX1" fmla="*/ 278339 w 11245851"/>
              <a:gd name="connsiteY1" fmla="*/ 0 h 2971800"/>
              <a:gd name="connsiteX2" fmla="*/ 10967512 w 11245851"/>
              <a:gd name="connsiteY2" fmla="*/ 0 h 2971800"/>
              <a:gd name="connsiteX3" fmla="*/ 11245851 w 11245851"/>
              <a:gd name="connsiteY3" fmla="*/ 278339 h 2971800"/>
              <a:gd name="connsiteX4" fmla="*/ 11245851 w 11245851"/>
              <a:gd name="connsiteY4" fmla="*/ 2693461 h 2971800"/>
              <a:gd name="connsiteX5" fmla="*/ 10967512 w 11245851"/>
              <a:gd name="connsiteY5" fmla="*/ 2971800 h 2971800"/>
              <a:gd name="connsiteX6" fmla="*/ 278339 w 11245851"/>
              <a:gd name="connsiteY6" fmla="*/ 2971800 h 2971800"/>
              <a:gd name="connsiteX7" fmla="*/ 0 w 11245851"/>
              <a:gd name="connsiteY7" fmla="*/ 2693461 h 2971800"/>
              <a:gd name="connsiteX8" fmla="*/ 0 w 11245851"/>
              <a:gd name="connsiteY8" fmla="*/ 278339 h 2971800"/>
              <a:gd name="connsiteX0" fmla="*/ 0 w 11858938"/>
              <a:gd name="connsiteY0" fmla="*/ 278339 h 2971800"/>
              <a:gd name="connsiteX1" fmla="*/ 278339 w 11858938"/>
              <a:gd name="connsiteY1" fmla="*/ 0 h 2971800"/>
              <a:gd name="connsiteX2" fmla="*/ 10967512 w 11858938"/>
              <a:gd name="connsiteY2" fmla="*/ 0 h 2971800"/>
              <a:gd name="connsiteX3" fmla="*/ 11245851 w 11858938"/>
              <a:gd name="connsiteY3" fmla="*/ 2693461 h 2971800"/>
              <a:gd name="connsiteX4" fmla="*/ 10967512 w 11858938"/>
              <a:gd name="connsiteY4" fmla="*/ 2971800 h 2971800"/>
              <a:gd name="connsiteX5" fmla="*/ 278339 w 11858938"/>
              <a:gd name="connsiteY5" fmla="*/ 2971800 h 2971800"/>
              <a:gd name="connsiteX6" fmla="*/ 0 w 11858938"/>
              <a:gd name="connsiteY6" fmla="*/ 2693461 h 2971800"/>
              <a:gd name="connsiteX7" fmla="*/ 0 w 11858938"/>
              <a:gd name="connsiteY7" fmla="*/ 278339 h 2971800"/>
              <a:gd name="connsiteX0" fmla="*/ 0 w 12061877"/>
              <a:gd name="connsiteY0" fmla="*/ 278339 h 2971800"/>
              <a:gd name="connsiteX1" fmla="*/ 278339 w 12061877"/>
              <a:gd name="connsiteY1" fmla="*/ 0 h 2971800"/>
              <a:gd name="connsiteX2" fmla="*/ 11250733 w 12061877"/>
              <a:gd name="connsiteY2" fmla="*/ 0 h 2971800"/>
              <a:gd name="connsiteX3" fmla="*/ 11245851 w 12061877"/>
              <a:gd name="connsiteY3" fmla="*/ 2693461 h 2971800"/>
              <a:gd name="connsiteX4" fmla="*/ 10967512 w 12061877"/>
              <a:gd name="connsiteY4" fmla="*/ 2971800 h 2971800"/>
              <a:gd name="connsiteX5" fmla="*/ 278339 w 12061877"/>
              <a:gd name="connsiteY5" fmla="*/ 2971800 h 2971800"/>
              <a:gd name="connsiteX6" fmla="*/ 0 w 12061877"/>
              <a:gd name="connsiteY6" fmla="*/ 2693461 h 2971800"/>
              <a:gd name="connsiteX7" fmla="*/ 0 w 12061877"/>
              <a:gd name="connsiteY7" fmla="*/ 278339 h 2971800"/>
              <a:gd name="connsiteX0" fmla="*/ 0 w 11327392"/>
              <a:gd name="connsiteY0" fmla="*/ 278339 h 2971800"/>
              <a:gd name="connsiteX1" fmla="*/ 278339 w 11327392"/>
              <a:gd name="connsiteY1" fmla="*/ 0 h 2971800"/>
              <a:gd name="connsiteX2" fmla="*/ 11250733 w 11327392"/>
              <a:gd name="connsiteY2" fmla="*/ 0 h 2971800"/>
              <a:gd name="connsiteX3" fmla="*/ 11245851 w 11327392"/>
              <a:gd name="connsiteY3" fmla="*/ 2693461 h 2971800"/>
              <a:gd name="connsiteX4" fmla="*/ 10967512 w 11327392"/>
              <a:gd name="connsiteY4" fmla="*/ 2971800 h 2971800"/>
              <a:gd name="connsiteX5" fmla="*/ 278339 w 11327392"/>
              <a:gd name="connsiteY5" fmla="*/ 2971800 h 2971800"/>
              <a:gd name="connsiteX6" fmla="*/ 0 w 11327392"/>
              <a:gd name="connsiteY6" fmla="*/ 2693461 h 2971800"/>
              <a:gd name="connsiteX7" fmla="*/ 0 w 11327392"/>
              <a:gd name="connsiteY7" fmla="*/ 278339 h 2971800"/>
              <a:gd name="connsiteX0" fmla="*/ 0 w 11250733"/>
              <a:gd name="connsiteY0" fmla="*/ 278339 h 2971800"/>
              <a:gd name="connsiteX1" fmla="*/ 278339 w 11250733"/>
              <a:gd name="connsiteY1" fmla="*/ 0 h 2971800"/>
              <a:gd name="connsiteX2" fmla="*/ 11250733 w 11250733"/>
              <a:gd name="connsiteY2" fmla="*/ 0 h 2971800"/>
              <a:gd name="connsiteX3" fmla="*/ 11245851 w 11250733"/>
              <a:gd name="connsiteY3" fmla="*/ 2693461 h 2971800"/>
              <a:gd name="connsiteX4" fmla="*/ 10967512 w 11250733"/>
              <a:gd name="connsiteY4" fmla="*/ 2971800 h 2971800"/>
              <a:gd name="connsiteX5" fmla="*/ 278339 w 11250733"/>
              <a:gd name="connsiteY5" fmla="*/ 2971800 h 2971800"/>
              <a:gd name="connsiteX6" fmla="*/ 0 w 11250733"/>
              <a:gd name="connsiteY6" fmla="*/ 2693461 h 2971800"/>
              <a:gd name="connsiteX7" fmla="*/ 0 w 11250733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50787" h="2971800">
                <a:moveTo>
                  <a:pt x="0" y="278339"/>
                </a:moveTo>
                <a:cubicBezTo>
                  <a:pt x="0" y="124617"/>
                  <a:pt x="124617" y="0"/>
                  <a:pt x="278339" y="0"/>
                </a:cubicBezTo>
                <a:lnTo>
                  <a:pt x="11250733" y="0"/>
                </a:lnTo>
                <a:cubicBezTo>
                  <a:pt x="11251395" y="313608"/>
                  <a:pt x="11245851" y="2198161"/>
                  <a:pt x="11245851" y="2693461"/>
                </a:cubicBezTo>
                <a:cubicBezTo>
                  <a:pt x="11245851" y="2847183"/>
                  <a:pt x="11121234" y="2971800"/>
                  <a:pt x="10967512" y="2971800"/>
                </a:cubicBezTo>
                <a:lnTo>
                  <a:pt x="278339" y="2971800"/>
                </a:lnTo>
                <a:cubicBezTo>
                  <a:pt x="124617" y="2971800"/>
                  <a:pt x="0" y="2847183"/>
                  <a:pt x="0" y="2693461"/>
                </a:cubicBezTo>
                <a:lnTo>
                  <a:pt x="0" y="278339"/>
                </a:lnTo>
                <a:close/>
              </a:path>
            </a:pathLst>
          </a:custGeom>
          <a:solidFill>
            <a:schemeClr val="accent5"/>
          </a:solidFill>
          <a:ln w="38100">
            <a:noFill/>
            <a:miter lim="800000"/>
          </a:ln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noFill/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075" y="3429000"/>
            <a:ext cx="11245849" cy="3200400"/>
          </a:xfrm>
        </p:spPr>
        <p:txBody>
          <a:bodyPr lIns="0" tIns="0" rIns="0" bIns="0" anchor="ctr" anchorCtr="0"/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652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Square Right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206E935-75A6-4050-BE93-44C6EB65AA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25880"/>
            <a:ext cx="5165725" cy="5074920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4CD852-C37E-B14B-860B-FE42C676A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8188DC-6A49-AE43-B6BF-32186F665D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8876" y="453561"/>
            <a:ext cx="5638345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8345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5636511" y="0"/>
                </a:lnTo>
                <a:cubicBezTo>
                  <a:pt x="5640547" y="2407"/>
                  <a:pt x="5636886" y="4630086"/>
                  <a:pt x="5635349" y="5606669"/>
                </a:cubicBezTo>
                <a:cubicBezTo>
                  <a:pt x="5635349" y="5794761"/>
                  <a:pt x="5482870" y="5947240"/>
                  <a:pt x="5294778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D8097F-9D9E-2647-B5DA-D73437AF743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9430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Recangle Left: Brow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865E613-40AA-2042-8BBE-482E69E35B1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656320" y="1737360"/>
            <a:ext cx="3062606" cy="4663439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679306A-E035-CE47-A814-D4626EE1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6319" y="457200"/>
            <a:ext cx="3062607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F1C0D3B4-289D-B34A-939F-B8FEDE5CF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075" y="453561"/>
            <a:ext cx="7724192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7723733"/>
              <a:gd name="connsiteY0" fmla="*/ 352027 h 5947240"/>
              <a:gd name="connsiteX1" fmla="*/ 356202 w 7723733"/>
              <a:gd name="connsiteY1" fmla="*/ 11455 h 5947240"/>
              <a:gd name="connsiteX2" fmla="*/ 7723728 w 7723733"/>
              <a:gd name="connsiteY2" fmla="*/ 0 h 5947240"/>
              <a:gd name="connsiteX3" fmla="*/ 5635349 w 7723733"/>
              <a:gd name="connsiteY3" fmla="*/ 5606669 h 5947240"/>
              <a:gd name="connsiteX4" fmla="*/ 5294778 w 7723733"/>
              <a:gd name="connsiteY4" fmla="*/ 5947240 h 5947240"/>
              <a:gd name="connsiteX5" fmla="*/ 364016 w 7723733"/>
              <a:gd name="connsiteY5" fmla="*/ 5947240 h 5947240"/>
              <a:gd name="connsiteX6" fmla="*/ 7815 w 7723733"/>
              <a:gd name="connsiteY6" fmla="*/ 5598853 h 5947240"/>
              <a:gd name="connsiteX7" fmla="*/ 0 w 772373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5294778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91934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22360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192"/>
              <a:gd name="connsiteY0" fmla="*/ 352027 h 5947240"/>
              <a:gd name="connsiteX1" fmla="*/ 356202 w 7724192"/>
              <a:gd name="connsiteY1" fmla="*/ 11455 h 5947240"/>
              <a:gd name="connsiteX2" fmla="*/ 7723728 w 7724192"/>
              <a:gd name="connsiteY2" fmla="*/ 0 h 5947240"/>
              <a:gd name="connsiteX3" fmla="*/ 7702688 w 7724192"/>
              <a:gd name="connsiteY3" fmla="*/ 5606669 h 5947240"/>
              <a:gd name="connsiteX4" fmla="*/ 7322360 w 7724192"/>
              <a:gd name="connsiteY4" fmla="*/ 5947240 h 5947240"/>
              <a:gd name="connsiteX5" fmla="*/ 364016 w 7724192"/>
              <a:gd name="connsiteY5" fmla="*/ 5947240 h 5947240"/>
              <a:gd name="connsiteX6" fmla="*/ 7815 w 7724192"/>
              <a:gd name="connsiteY6" fmla="*/ 5598853 h 5947240"/>
              <a:gd name="connsiteX7" fmla="*/ 0 w 7724192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4192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7723728" y="0"/>
                </a:lnTo>
                <a:cubicBezTo>
                  <a:pt x="7727764" y="2407"/>
                  <a:pt x="7704225" y="4630086"/>
                  <a:pt x="7702688" y="5606669"/>
                </a:cubicBezTo>
                <a:cubicBezTo>
                  <a:pt x="7702688" y="5794761"/>
                  <a:pt x="7510452" y="5947240"/>
                  <a:pt x="7322360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849A903B-4415-4646-B995-E47A9EDA5D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273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Rounded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307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48BFDC7-BD18-0F4A-9CA2-B7EDF05E7E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67200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4C630D1A-4F2A-EA4A-AEDE-FE3DFA1755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720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6959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1CDAB73-EF81-E241-816A-0BFA45F3BD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61324" y="3749040"/>
            <a:ext cx="3663961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AB714AD-04ED-D14E-AA32-32ABD684B0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3082" y="3749040"/>
            <a:ext cx="3652196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6D08B4C-08CB-DB42-9ACF-6D152954B29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3074" y="3749040"/>
            <a:ext cx="3652197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4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3x Square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880F47F-F674-B44C-A09F-58D1737190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2107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0D4F522-AF5A-F944-8A53-12A92CE142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2711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A64242F8-6C64-BC40-ADF5-0D67C98ABC5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229922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67A0B-1088-E047-9FB4-02B3489565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65A970-4684-2F4D-98F0-4F5379F1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BDD42C-F253-0643-A91B-BB12DB92EA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075" y="1280160"/>
            <a:ext cx="3108325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6053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4x Grid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E79FAC9-EB2E-114E-90BC-D7B50FE68C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624" y="3657599"/>
            <a:ext cx="2748576" cy="2746376"/>
          </a:xfrm>
          <a:custGeom>
            <a:avLst/>
            <a:gdLst>
              <a:gd name="connsiteX0" fmla="*/ 0 w 2743200"/>
              <a:gd name="connsiteY0" fmla="*/ 0 h 2743200"/>
              <a:gd name="connsiteX1" fmla="*/ 2743200 w 2743200"/>
              <a:gd name="connsiteY1" fmla="*/ 0 h 2743200"/>
              <a:gd name="connsiteX2" fmla="*/ 2743200 w 2743200"/>
              <a:gd name="connsiteY2" fmla="*/ 2743200 h 2743200"/>
              <a:gd name="connsiteX3" fmla="*/ 0 w 2743200"/>
              <a:gd name="connsiteY3" fmla="*/ 2743200 h 2743200"/>
              <a:gd name="connsiteX4" fmla="*/ 0 w 2743200"/>
              <a:gd name="connsiteY4" fmla="*/ 0 h 2743200"/>
              <a:gd name="connsiteX0" fmla="*/ 342900 w 3086100"/>
              <a:gd name="connsiteY0" fmla="*/ 0 h 3086100"/>
              <a:gd name="connsiteX1" fmla="*/ 3086100 w 3086100"/>
              <a:gd name="connsiteY1" fmla="*/ 0 h 3086100"/>
              <a:gd name="connsiteX2" fmla="*/ 3086100 w 3086100"/>
              <a:gd name="connsiteY2" fmla="*/ 2743200 h 3086100"/>
              <a:gd name="connsiteX3" fmla="*/ 342900 w 3086100"/>
              <a:gd name="connsiteY3" fmla="*/ 2743200 h 3086100"/>
              <a:gd name="connsiteX4" fmla="*/ 342900 w 3086100"/>
              <a:gd name="connsiteY4" fmla="*/ 0 h 3086100"/>
              <a:gd name="connsiteX0" fmla="*/ 348767 w 3091967"/>
              <a:gd name="connsiteY0" fmla="*/ 0 h 3011102"/>
              <a:gd name="connsiteX1" fmla="*/ 3091967 w 3091967"/>
              <a:gd name="connsiteY1" fmla="*/ 0 h 3011102"/>
              <a:gd name="connsiteX2" fmla="*/ 3091967 w 3091967"/>
              <a:gd name="connsiteY2" fmla="*/ 2743200 h 3011102"/>
              <a:gd name="connsiteX3" fmla="*/ 337143 w 3091967"/>
              <a:gd name="connsiteY3" fmla="*/ 2568844 h 3011102"/>
              <a:gd name="connsiteX4" fmla="*/ 348767 w 3091967"/>
              <a:gd name="connsiteY4" fmla="*/ 0 h 3011102"/>
              <a:gd name="connsiteX0" fmla="*/ 206259 w 2949459"/>
              <a:gd name="connsiteY0" fmla="*/ 0 h 2924885"/>
              <a:gd name="connsiteX1" fmla="*/ 2949459 w 2949459"/>
              <a:gd name="connsiteY1" fmla="*/ 0 h 2924885"/>
              <a:gd name="connsiteX2" fmla="*/ 2949459 w 2949459"/>
              <a:gd name="connsiteY2" fmla="*/ 2743200 h 2924885"/>
              <a:gd name="connsiteX3" fmla="*/ 194635 w 2949459"/>
              <a:gd name="connsiteY3" fmla="*/ 2568844 h 2924885"/>
              <a:gd name="connsiteX4" fmla="*/ 206259 w 2949459"/>
              <a:gd name="connsiteY4" fmla="*/ 0 h 2924885"/>
              <a:gd name="connsiteX0" fmla="*/ 11624 w 2754824"/>
              <a:gd name="connsiteY0" fmla="*/ 0 h 2924885"/>
              <a:gd name="connsiteX1" fmla="*/ 2754824 w 2754824"/>
              <a:gd name="connsiteY1" fmla="*/ 0 h 2924885"/>
              <a:gd name="connsiteX2" fmla="*/ 2754824 w 2754824"/>
              <a:gd name="connsiteY2" fmla="*/ 2743200 h 2924885"/>
              <a:gd name="connsiteX3" fmla="*/ 0 w 2754824"/>
              <a:gd name="connsiteY3" fmla="*/ 2568844 h 2924885"/>
              <a:gd name="connsiteX4" fmla="*/ 11624 w 2754824"/>
              <a:gd name="connsiteY4" fmla="*/ 0 h 2924885"/>
              <a:gd name="connsiteX0" fmla="*/ 64001 w 2807201"/>
              <a:gd name="connsiteY0" fmla="*/ 0 h 2925673"/>
              <a:gd name="connsiteX1" fmla="*/ 2807201 w 2807201"/>
              <a:gd name="connsiteY1" fmla="*/ 0 h 2925673"/>
              <a:gd name="connsiteX2" fmla="*/ 2807201 w 2807201"/>
              <a:gd name="connsiteY2" fmla="*/ 2743200 h 2925673"/>
              <a:gd name="connsiteX3" fmla="*/ 268062 w 2807201"/>
              <a:gd name="connsiteY3" fmla="*/ 2657960 h 2925673"/>
              <a:gd name="connsiteX4" fmla="*/ 52377 w 2807201"/>
              <a:gd name="connsiteY4" fmla="*/ 2568844 h 2925673"/>
              <a:gd name="connsiteX5" fmla="*/ 64001 w 2807201"/>
              <a:gd name="connsiteY5" fmla="*/ 0 h 2925673"/>
              <a:gd name="connsiteX0" fmla="*/ 93513 w 2836713"/>
              <a:gd name="connsiteY0" fmla="*/ 0 h 2946704"/>
              <a:gd name="connsiteX1" fmla="*/ 2836713 w 2836713"/>
              <a:gd name="connsiteY1" fmla="*/ 0 h 2946704"/>
              <a:gd name="connsiteX2" fmla="*/ 2836713 w 2836713"/>
              <a:gd name="connsiteY2" fmla="*/ 2743200 h 2946704"/>
              <a:gd name="connsiteX3" fmla="*/ 251079 w 2836713"/>
              <a:gd name="connsiteY3" fmla="*/ 2743201 h 2946704"/>
              <a:gd name="connsiteX4" fmla="*/ 81889 w 2836713"/>
              <a:gd name="connsiteY4" fmla="*/ 2568844 h 2946704"/>
              <a:gd name="connsiteX5" fmla="*/ 93513 w 2836713"/>
              <a:gd name="connsiteY5" fmla="*/ 0 h 2946704"/>
              <a:gd name="connsiteX0" fmla="*/ 21496 w 2764696"/>
              <a:gd name="connsiteY0" fmla="*/ 0 h 2946704"/>
              <a:gd name="connsiteX1" fmla="*/ 2764696 w 2764696"/>
              <a:gd name="connsiteY1" fmla="*/ 0 h 2946704"/>
              <a:gd name="connsiteX2" fmla="*/ 2764696 w 2764696"/>
              <a:gd name="connsiteY2" fmla="*/ 2743200 h 2946704"/>
              <a:gd name="connsiteX3" fmla="*/ 179062 w 2764696"/>
              <a:gd name="connsiteY3" fmla="*/ 2743201 h 2946704"/>
              <a:gd name="connsiteX4" fmla="*/ 9872 w 2764696"/>
              <a:gd name="connsiteY4" fmla="*/ 2568844 h 2946704"/>
              <a:gd name="connsiteX5" fmla="*/ 21496 w 2764696"/>
              <a:gd name="connsiteY5" fmla="*/ 0 h 2946704"/>
              <a:gd name="connsiteX0" fmla="*/ 11927 w 2755127"/>
              <a:gd name="connsiteY0" fmla="*/ 0 h 2946704"/>
              <a:gd name="connsiteX1" fmla="*/ 2755127 w 2755127"/>
              <a:gd name="connsiteY1" fmla="*/ 0 h 2946704"/>
              <a:gd name="connsiteX2" fmla="*/ 2755127 w 2755127"/>
              <a:gd name="connsiteY2" fmla="*/ 2743200 h 2946704"/>
              <a:gd name="connsiteX3" fmla="*/ 169493 w 2755127"/>
              <a:gd name="connsiteY3" fmla="*/ 2743201 h 2946704"/>
              <a:gd name="connsiteX4" fmla="*/ 303 w 2755127"/>
              <a:gd name="connsiteY4" fmla="*/ 2568844 h 2946704"/>
              <a:gd name="connsiteX5" fmla="*/ 11927 w 2755127"/>
              <a:gd name="connsiteY5" fmla="*/ 0 h 2946704"/>
              <a:gd name="connsiteX0" fmla="*/ 5611 w 2748811"/>
              <a:gd name="connsiteY0" fmla="*/ 0 h 2946704"/>
              <a:gd name="connsiteX1" fmla="*/ 2748811 w 2748811"/>
              <a:gd name="connsiteY1" fmla="*/ 0 h 2946704"/>
              <a:gd name="connsiteX2" fmla="*/ 2748811 w 2748811"/>
              <a:gd name="connsiteY2" fmla="*/ 2743200 h 2946704"/>
              <a:gd name="connsiteX3" fmla="*/ 163177 w 2748811"/>
              <a:gd name="connsiteY3" fmla="*/ 2743201 h 2946704"/>
              <a:gd name="connsiteX4" fmla="*/ 337 w 2748811"/>
              <a:gd name="connsiteY4" fmla="*/ 2527569 h 2946704"/>
              <a:gd name="connsiteX5" fmla="*/ 5611 w 2748811"/>
              <a:gd name="connsiteY5" fmla="*/ 0 h 2946704"/>
              <a:gd name="connsiteX0" fmla="*/ 18815 w 2762015"/>
              <a:gd name="connsiteY0" fmla="*/ 0 h 2947578"/>
              <a:gd name="connsiteX1" fmla="*/ 2762015 w 2762015"/>
              <a:gd name="connsiteY1" fmla="*/ 0 h 2947578"/>
              <a:gd name="connsiteX2" fmla="*/ 2762015 w 2762015"/>
              <a:gd name="connsiteY2" fmla="*/ 2743200 h 2947578"/>
              <a:gd name="connsiteX3" fmla="*/ 208131 w 2762015"/>
              <a:gd name="connsiteY3" fmla="*/ 2746376 h 2947578"/>
              <a:gd name="connsiteX4" fmla="*/ 13541 w 2762015"/>
              <a:gd name="connsiteY4" fmla="*/ 2527569 h 2947578"/>
              <a:gd name="connsiteX5" fmla="*/ 18815 w 2762015"/>
              <a:gd name="connsiteY5" fmla="*/ 0 h 2947578"/>
              <a:gd name="connsiteX0" fmla="*/ 5275 w 2748475"/>
              <a:gd name="connsiteY0" fmla="*/ 0 h 2947578"/>
              <a:gd name="connsiteX1" fmla="*/ 2748475 w 2748475"/>
              <a:gd name="connsiteY1" fmla="*/ 0 h 2947578"/>
              <a:gd name="connsiteX2" fmla="*/ 2748475 w 2748475"/>
              <a:gd name="connsiteY2" fmla="*/ 2743200 h 2947578"/>
              <a:gd name="connsiteX3" fmla="*/ 194591 w 2748475"/>
              <a:gd name="connsiteY3" fmla="*/ 2746376 h 2947578"/>
              <a:gd name="connsiteX4" fmla="*/ 1 w 2748475"/>
              <a:gd name="connsiteY4" fmla="*/ 2527569 h 2947578"/>
              <a:gd name="connsiteX5" fmla="*/ 5275 w 2748475"/>
              <a:gd name="connsiteY5" fmla="*/ 0 h 2947578"/>
              <a:gd name="connsiteX0" fmla="*/ 5376 w 2748576"/>
              <a:gd name="connsiteY0" fmla="*/ 0 h 2947578"/>
              <a:gd name="connsiteX1" fmla="*/ 2748576 w 2748576"/>
              <a:gd name="connsiteY1" fmla="*/ 0 h 2947578"/>
              <a:gd name="connsiteX2" fmla="*/ 2748576 w 2748576"/>
              <a:gd name="connsiteY2" fmla="*/ 2743200 h 2947578"/>
              <a:gd name="connsiteX3" fmla="*/ 194692 w 2748576"/>
              <a:gd name="connsiteY3" fmla="*/ 2746376 h 2947578"/>
              <a:gd name="connsiteX4" fmla="*/ 102 w 2748576"/>
              <a:gd name="connsiteY4" fmla="*/ 2527569 h 2947578"/>
              <a:gd name="connsiteX5" fmla="*/ 5376 w 2748576"/>
              <a:gd name="connsiteY5" fmla="*/ 0 h 2947578"/>
              <a:gd name="connsiteX0" fmla="*/ 5376 w 2748576"/>
              <a:gd name="connsiteY0" fmla="*/ 0 h 2940311"/>
              <a:gd name="connsiteX1" fmla="*/ 2748576 w 2748576"/>
              <a:gd name="connsiteY1" fmla="*/ 0 h 2940311"/>
              <a:gd name="connsiteX2" fmla="*/ 2748576 w 2748576"/>
              <a:gd name="connsiteY2" fmla="*/ 2743200 h 2940311"/>
              <a:gd name="connsiteX3" fmla="*/ 194692 w 2748576"/>
              <a:gd name="connsiteY3" fmla="*/ 2746376 h 2940311"/>
              <a:gd name="connsiteX4" fmla="*/ 102 w 2748576"/>
              <a:gd name="connsiteY4" fmla="*/ 2527569 h 2940311"/>
              <a:gd name="connsiteX5" fmla="*/ 5376 w 2748576"/>
              <a:gd name="connsiteY5" fmla="*/ 0 h 2940311"/>
              <a:gd name="connsiteX0" fmla="*/ 5376 w 2748576"/>
              <a:gd name="connsiteY0" fmla="*/ 0 h 2746376"/>
              <a:gd name="connsiteX1" fmla="*/ 2748576 w 2748576"/>
              <a:gd name="connsiteY1" fmla="*/ 0 h 2746376"/>
              <a:gd name="connsiteX2" fmla="*/ 2748576 w 2748576"/>
              <a:gd name="connsiteY2" fmla="*/ 2743200 h 2746376"/>
              <a:gd name="connsiteX3" fmla="*/ 194692 w 2748576"/>
              <a:gd name="connsiteY3" fmla="*/ 2746376 h 2746376"/>
              <a:gd name="connsiteX4" fmla="*/ 102 w 2748576"/>
              <a:gd name="connsiteY4" fmla="*/ 2527569 h 2746376"/>
              <a:gd name="connsiteX5" fmla="*/ 5376 w 2748576"/>
              <a:gd name="connsiteY5" fmla="*/ 0 h 27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8576" h="2746376">
                <a:moveTo>
                  <a:pt x="5376" y="0"/>
                </a:moveTo>
                <a:lnTo>
                  <a:pt x="2748576" y="0"/>
                </a:lnTo>
                <a:lnTo>
                  <a:pt x="2748576" y="2743200"/>
                </a:lnTo>
                <a:cubicBezTo>
                  <a:pt x="2430894" y="2748532"/>
                  <a:pt x="476029" y="2743685"/>
                  <a:pt x="194692" y="2746376"/>
                </a:cubicBezTo>
                <a:cubicBezTo>
                  <a:pt x="76518" y="2740565"/>
                  <a:pt x="-3270" y="2636048"/>
                  <a:pt x="102" y="2527569"/>
                </a:cubicBezTo>
                <a:cubicBezTo>
                  <a:pt x="3474" y="2419090"/>
                  <a:pt x="1501" y="519194"/>
                  <a:pt x="5376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B016DA3-DBA7-1C41-8299-3292E26E35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76360" y="457200"/>
            <a:ext cx="2743200" cy="2514599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2698" y="457200"/>
            <a:ext cx="2749295" cy="3063240"/>
          </a:xfrm>
          <a:custGeom>
            <a:avLst/>
            <a:gdLst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365516 w 2743200"/>
              <a:gd name="connsiteY4" fmla="*/ 3063240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821480"/>
              <a:gd name="connsiteY0" fmla="*/ 0 h 3063240"/>
              <a:gd name="connsiteX1" fmla="*/ 2743200 w 2821480"/>
              <a:gd name="connsiteY1" fmla="*/ 0 h 3063240"/>
              <a:gd name="connsiteX2" fmla="*/ 2743200 w 2821480"/>
              <a:gd name="connsiteY2" fmla="*/ 0 h 3063240"/>
              <a:gd name="connsiteX3" fmla="*/ 2743200 w 2821480"/>
              <a:gd name="connsiteY3" fmla="*/ 2685556 h 3063240"/>
              <a:gd name="connsiteX4" fmla="*/ 2723325 w 2821480"/>
              <a:gd name="connsiteY4" fmla="*/ 3053301 h 3063240"/>
              <a:gd name="connsiteX5" fmla="*/ 0 w 2821480"/>
              <a:gd name="connsiteY5" fmla="*/ 3063240 h 3063240"/>
              <a:gd name="connsiteX6" fmla="*/ 0 w 2821480"/>
              <a:gd name="connsiteY6" fmla="*/ 3063240 h 3063240"/>
              <a:gd name="connsiteX7" fmla="*/ 0 w 2821480"/>
              <a:gd name="connsiteY7" fmla="*/ 377684 h 3063240"/>
              <a:gd name="connsiteX8" fmla="*/ 377684 w 2821480"/>
              <a:gd name="connsiteY8" fmla="*/ 0 h 3063240"/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723325 w 2743200"/>
              <a:gd name="connsiteY4" fmla="*/ 3053301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745994"/>
              <a:gd name="connsiteY0" fmla="*/ 0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77684 w 2745994"/>
              <a:gd name="connsiteY8" fmla="*/ 0 h 3063240"/>
              <a:gd name="connsiteX0" fmla="*/ 318264 w 2745994"/>
              <a:gd name="connsiteY0" fmla="*/ 3301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18264 w 2745994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31469 h 3063240"/>
              <a:gd name="connsiteX8" fmla="*/ 321565 w 2749295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14963 h 3063240"/>
              <a:gd name="connsiteX8" fmla="*/ 321565 w 2749295"/>
              <a:gd name="connsiteY8" fmla="*/ 3301 h 306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49295" h="3063240">
                <a:moveTo>
                  <a:pt x="321565" y="3301"/>
                </a:moveTo>
                <a:lnTo>
                  <a:pt x="2746501" y="0"/>
                </a:lnTo>
                <a:lnTo>
                  <a:pt x="2746501" y="0"/>
                </a:lnTo>
                <a:lnTo>
                  <a:pt x="2746501" y="2685556"/>
                </a:lnTo>
                <a:cubicBezTo>
                  <a:pt x="2746501" y="2894145"/>
                  <a:pt x="2753110" y="3061050"/>
                  <a:pt x="2745999" y="3057175"/>
                </a:cubicBezTo>
                <a:cubicBezTo>
                  <a:pt x="2738888" y="3053300"/>
                  <a:pt x="911076" y="3059927"/>
                  <a:pt x="3301" y="3063240"/>
                </a:cubicBezTo>
                <a:lnTo>
                  <a:pt x="3301" y="3063240"/>
                </a:lnTo>
                <a:cubicBezTo>
                  <a:pt x="2201" y="2152650"/>
                  <a:pt x="1100" y="1225553"/>
                  <a:pt x="0" y="314963"/>
                </a:cubicBezTo>
                <a:cubicBezTo>
                  <a:pt x="0" y="106374"/>
                  <a:pt x="112976" y="3301"/>
                  <a:pt x="321565" y="3301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65CB4C76-4971-1948-BAE9-D05A032525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75814" y="3108960"/>
            <a:ext cx="2743746" cy="3291840"/>
          </a:xfrm>
          <a:custGeom>
            <a:avLst/>
            <a:gdLst>
              <a:gd name="connsiteX0" fmla="*/ 232349 w 2743200"/>
              <a:gd name="connsiteY0" fmla="*/ 0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232349 w 2743200"/>
              <a:gd name="connsiteY8" fmla="*/ 0 h 3291840"/>
              <a:gd name="connsiteX0" fmla="*/ 59043 w 2794746"/>
              <a:gd name="connsiteY0" fmla="*/ 3747 h 3291840"/>
              <a:gd name="connsiteX1" fmla="*/ 2794746 w 2794746"/>
              <a:gd name="connsiteY1" fmla="*/ 0 h 3291840"/>
              <a:gd name="connsiteX2" fmla="*/ 2794746 w 2794746"/>
              <a:gd name="connsiteY2" fmla="*/ 0 h 3291840"/>
              <a:gd name="connsiteX3" fmla="*/ 2794746 w 2794746"/>
              <a:gd name="connsiteY3" fmla="*/ 3059491 h 3291840"/>
              <a:gd name="connsiteX4" fmla="*/ 2562397 w 2794746"/>
              <a:gd name="connsiteY4" fmla="*/ 3291840 h 3291840"/>
              <a:gd name="connsiteX5" fmla="*/ 51546 w 2794746"/>
              <a:gd name="connsiteY5" fmla="*/ 3291840 h 3291840"/>
              <a:gd name="connsiteX6" fmla="*/ 51546 w 2794746"/>
              <a:gd name="connsiteY6" fmla="*/ 3291840 h 3291840"/>
              <a:gd name="connsiteX7" fmla="*/ 51546 w 2794746"/>
              <a:gd name="connsiteY7" fmla="*/ 232349 h 3291840"/>
              <a:gd name="connsiteX8" fmla="*/ 59043 w 2794746"/>
              <a:gd name="connsiteY8" fmla="*/ 3747 h 3291840"/>
              <a:gd name="connsiteX0" fmla="*/ 7497 w 2743200"/>
              <a:gd name="connsiteY0" fmla="*/ 3747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7497 w 2743200"/>
              <a:gd name="connsiteY8" fmla="*/ 3747 h 3291840"/>
              <a:gd name="connsiteX0" fmla="*/ 68 w 2750761"/>
              <a:gd name="connsiteY0" fmla="*/ 7495 h 3291840"/>
              <a:gd name="connsiteX1" fmla="*/ 2750761 w 2750761"/>
              <a:gd name="connsiteY1" fmla="*/ 0 h 3291840"/>
              <a:gd name="connsiteX2" fmla="*/ 2750761 w 2750761"/>
              <a:gd name="connsiteY2" fmla="*/ 0 h 3291840"/>
              <a:gd name="connsiteX3" fmla="*/ 2750761 w 2750761"/>
              <a:gd name="connsiteY3" fmla="*/ 3059491 h 3291840"/>
              <a:gd name="connsiteX4" fmla="*/ 2518412 w 2750761"/>
              <a:gd name="connsiteY4" fmla="*/ 3291840 h 3291840"/>
              <a:gd name="connsiteX5" fmla="*/ 7561 w 2750761"/>
              <a:gd name="connsiteY5" fmla="*/ 3291840 h 3291840"/>
              <a:gd name="connsiteX6" fmla="*/ 7561 w 2750761"/>
              <a:gd name="connsiteY6" fmla="*/ 3291840 h 3291840"/>
              <a:gd name="connsiteX7" fmla="*/ 7561 w 2750761"/>
              <a:gd name="connsiteY7" fmla="*/ 232349 h 3291840"/>
              <a:gd name="connsiteX8" fmla="*/ 68 w 2750761"/>
              <a:gd name="connsiteY8" fmla="*/ 7495 h 3291840"/>
              <a:gd name="connsiteX0" fmla="*/ 0 w 2750693"/>
              <a:gd name="connsiteY0" fmla="*/ 7495 h 3291840"/>
              <a:gd name="connsiteX1" fmla="*/ 2750693 w 2750693"/>
              <a:gd name="connsiteY1" fmla="*/ 0 h 3291840"/>
              <a:gd name="connsiteX2" fmla="*/ 2750693 w 2750693"/>
              <a:gd name="connsiteY2" fmla="*/ 0 h 3291840"/>
              <a:gd name="connsiteX3" fmla="*/ 2750693 w 2750693"/>
              <a:gd name="connsiteY3" fmla="*/ 3059491 h 3291840"/>
              <a:gd name="connsiteX4" fmla="*/ 2518344 w 2750693"/>
              <a:gd name="connsiteY4" fmla="*/ 3291840 h 3291840"/>
              <a:gd name="connsiteX5" fmla="*/ 7493 w 2750693"/>
              <a:gd name="connsiteY5" fmla="*/ 3291840 h 3291840"/>
              <a:gd name="connsiteX6" fmla="*/ 7493 w 2750693"/>
              <a:gd name="connsiteY6" fmla="*/ 3291840 h 3291840"/>
              <a:gd name="connsiteX7" fmla="*/ 0 w 2750693"/>
              <a:gd name="connsiteY7" fmla="*/ 7495 h 3291840"/>
              <a:gd name="connsiteX0" fmla="*/ 2578 w 2743746"/>
              <a:gd name="connsiteY0" fmla="*/ 4320 h 3291840"/>
              <a:gd name="connsiteX1" fmla="*/ 2743746 w 2743746"/>
              <a:gd name="connsiteY1" fmla="*/ 0 h 3291840"/>
              <a:gd name="connsiteX2" fmla="*/ 2743746 w 2743746"/>
              <a:gd name="connsiteY2" fmla="*/ 0 h 3291840"/>
              <a:gd name="connsiteX3" fmla="*/ 2743746 w 2743746"/>
              <a:gd name="connsiteY3" fmla="*/ 3059491 h 3291840"/>
              <a:gd name="connsiteX4" fmla="*/ 2511397 w 2743746"/>
              <a:gd name="connsiteY4" fmla="*/ 3291840 h 3291840"/>
              <a:gd name="connsiteX5" fmla="*/ 546 w 2743746"/>
              <a:gd name="connsiteY5" fmla="*/ 3291840 h 3291840"/>
              <a:gd name="connsiteX6" fmla="*/ 546 w 2743746"/>
              <a:gd name="connsiteY6" fmla="*/ 3291840 h 3291840"/>
              <a:gd name="connsiteX7" fmla="*/ 2578 w 2743746"/>
              <a:gd name="connsiteY7" fmla="*/ 432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43746" h="3291840">
                <a:moveTo>
                  <a:pt x="2578" y="4320"/>
                </a:moveTo>
                <a:lnTo>
                  <a:pt x="2743746" y="0"/>
                </a:lnTo>
                <a:lnTo>
                  <a:pt x="2743746" y="0"/>
                </a:lnTo>
                <a:lnTo>
                  <a:pt x="2743746" y="3059491"/>
                </a:lnTo>
                <a:cubicBezTo>
                  <a:pt x="2743746" y="3187814"/>
                  <a:pt x="2639720" y="3291840"/>
                  <a:pt x="2511397" y="3291840"/>
                </a:cubicBezTo>
                <a:lnTo>
                  <a:pt x="546" y="3291840"/>
                </a:lnTo>
                <a:lnTo>
                  <a:pt x="546" y="3291840"/>
                </a:lnTo>
                <a:cubicBezTo>
                  <a:pt x="-1952" y="2197058"/>
                  <a:pt x="5076" y="1099102"/>
                  <a:pt x="2578" y="432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F44E331-A46F-418D-9D7E-A5E1C5DD23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289010"/>
            <a:ext cx="5165725" cy="5111790"/>
          </a:xfrm>
          <a:prstGeom prst="rect">
            <a:avLst/>
          </a:prstGeom>
        </p:spPr>
        <p:txBody>
          <a:bodyPr anchor="ctr" anchorCtr="0"/>
          <a:lstStyle>
            <a:lvl1pPr marL="285750" indent="-285750">
              <a:buClr>
                <a:schemeClr val="tx1"/>
              </a:buClr>
              <a:buFontTx/>
              <a:buBlip>
                <a:blip r:embed="rId3"/>
              </a:buBlip>
              <a:defRPr sz="20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674C62-10A3-0F47-ADDB-FD34F1BBD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979A9B-1009-BE4D-B89C-EBFA57F7ECB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6452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5437C5E-E688-406B-9B99-43A0D27B5D9D}"/>
              </a:ext>
            </a:extLst>
          </p:cNvPr>
          <p:cNvSpPr/>
          <p:nvPr/>
        </p:nvSpPr>
        <p:spPr>
          <a:xfrm>
            <a:off x="1524" y="1714"/>
            <a:ext cx="12186412" cy="6856286"/>
          </a:xfrm>
          <a:custGeom>
            <a:avLst/>
            <a:gdLst>
              <a:gd name="connsiteX0" fmla="*/ 12186412 w 12186412"/>
              <a:gd name="connsiteY0" fmla="*/ 2539 h 6856286"/>
              <a:gd name="connsiteX1" fmla="*/ 12186412 w 12186412"/>
              <a:gd name="connsiteY1" fmla="*/ 6856286 h 6856286"/>
              <a:gd name="connsiteX2" fmla="*/ 0 w 12186412"/>
              <a:gd name="connsiteY2" fmla="*/ 6856286 h 6856286"/>
              <a:gd name="connsiteX3" fmla="*/ 0 w 12186412"/>
              <a:gd name="connsiteY3" fmla="*/ 0 h 6856286"/>
              <a:gd name="connsiteX4" fmla="*/ 406298 w 12186412"/>
              <a:gd name="connsiteY4" fmla="*/ 393602 h 6856286"/>
              <a:gd name="connsiteX5" fmla="*/ 812597 w 12186412"/>
              <a:gd name="connsiteY5" fmla="*/ 0 h 6856286"/>
              <a:gd name="connsiteX6" fmla="*/ 1218895 w 12186412"/>
              <a:gd name="connsiteY6" fmla="*/ 393602 h 6856286"/>
              <a:gd name="connsiteX7" fmla="*/ 1625194 w 12186412"/>
              <a:gd name="connsiteY7" fmla="*/ 0 h 6856286"/>
              <a:gd name="connsiteX8" fmla="*/ 2031492 w 12186412"/>
              <a:gd name="connsiteY8" fmla="*/ 393602 h 6856286"/>
              <a:gd name="connsiteX9" fmla="*/ 2437791 w 12186412"/>
              <a:gd name="connsiteY9" fmla="*/ 0 h 6856286"/>
              <a:gd name="connsiteX10" fmla="*/ 2844089 w 12186412"/>
              <a:gd name="connsiteY10" fmla="*/ 393602 h 6856286"/>
              <a:gd name="connsiteX11" fmla="*/ 3250387 w 12186412"/>
              <a:gd name="connsiteY11" fmla="*/ 0 h 6856286"/>
              <a:gd name="connsiteX12" fmla="*/ 3656686 w 12186412"/>
              <a:gd name="connsiteY12" fmla="*/ 393602 h 6856286"/>
              <a:gd name="connsiteX13" fmla="*/ 4062984 w 12186412"/>
              <a:gd name="connsiteY13" fmla="*/ 0 h 6856286"/>
              <a:gd name="connsiteX14" fmla="*/ 4469283 w 12186412"/>
              <a:gd name="connsiteY14" fmla="*/ 393602 h 6856286"/>
              <a:gd name="connsiteX15" fmla="*/ 4875581 w 12186412"/>
              <a:gd name="connsiteY15" fmla="*/ 0 h 6856286"/>
              <a:gd name="connsiteX16" fmla="*/ 5281879 w 12186412"/>
              <a:gd name="connsiteY16" fmla="*/ 393602 h 6856286"/>
              <a:gd name="connsiteX17" fmla="*/ 5688178 w 12186412"/>
              <a:gd name="connsiteY17" fmla="*/ 0 h 6856286"/>
              <a:gd name="connsiteX18" fmla="*/ 6094476 w 12186412"/>
              <a:gd name="connsiteY18" fmla="*/ 393602 h 6856286"/>
              <a:gd name="connsiteX19" fmla="*/ 6500775 w 12186412"/>
              <a:gd name="connsiteY19" fmla="*/ 0 h 6856286"/>
              <a:gd name="connsiteX20" fmla="*/ 6907073 w 12186412"/>
              <a:gd name="connsiteY20" fmla="*/ 393602 h 6856286"/>
              <a:gd name="connsiteX21" fmla="*/ 7313371 w 12186412"/>
              <a:gd name="connsiteY21" fmla="*/ 0 h 6856286"/>
              <a:gd name="connsiteX22" fmla="*/ 7719670 w 12186412"/>
              <a:gd name="connsiteY22" fmla="*/ 393602 h 6856286"/>
              <a:gd name="connsiteX23" fmla="*/ 8125968 w 12186412"/>
              <a:gd name="connsiteY23" fmla="*/ 0 h 6856286"/>
              <a:gd name="connsiteX24" fmla="*/ 8532266 w 12186412"/>
              <a:gd name="connsiteY24" fmla="*/ 393602 h 6856286"/>
              <a:gd name="connsiteX25" fmla="*/ 8938565 w 12186412"/>
              <a:gd name="connsiteY25" fmla="*/ 0 h 6856286"/>
              <a:gd name="connsiteX26" fmla="*/ 9344863 w 12186412"/>
              <a:gd name="connsiteY26" fmla="*/ 393602 h 6856286"/>
              <a:gd name="connsiteX27" fmla="*/ 9751162 w 12186412"/>
              <a:gd name="connsiteY27" fmla="*/ 0 h 6856286"/>
              <a:gd name="connsiteX28" fmla="*/ 10157460 w 12186412"/>
              <a:gd name="connsiteY28" fmla="*/ 393602 h 6856286"/>
              <a:gd name="connsiteX29" fmla="*/ 10563758 w 12186412"/>
              <a:gd name="connsiteY29" fmla="*/ 0 h 6856286"/>
              <a:gd name="connsiteX30" fmla="*/ 10970057 w 12186412"/>
              <a:gd name="connsiteY30" fmla="*/ 393602 h 6856286"/>
              <a:gd name="connsiteX31" fmla="*/ 11376355 w 12186412"/>
              <a:gd name="connsiteY31" fmla="*/ 0 h 6856286"/>
              <a:gd name="connsiteX32" fmla="*/ 11782654 w 12186412"/>
              <a:gd name="connsiteY32" fmla="*/ 393602 h 685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186412" h="6856286">
                <a:moveTo>
                  <a:pt x="12186412" y="2539"/>
                </a:moveTo>
                <a:lnTo>
                  <a:pt x="12186412" y="6856286"/>
                </a:lnTo>
                <a:lnTo>
                  <a:pt x="0" y="6856286"/>
                </a:lnTo>
                <a:lnTo>
                  <a:pt x="0" y="0"/>
                </a:lnTo>
                <a:lnTo>
                  <a:pt x="406298" y="393602"/>
                </a:lnTo>
                <a:lnTo>
                  <a:pt x="812597" y="0"/>
                </a:lnTo>
                <a:lnTo>
                  <a:pt x="1218895" y="393602"/>
                </a:lnTo>
                <a:lnTo>
                  <a:pt x="1625194" y="0"/>
                </a:lnTo>
                <a:lnTo>
                  <a:pt x="2031492" y="393602"/>
                </a:lnTo>
                <a:lnTo>
                  <a:pt x="2437791" y="0"/>
                </a:lnTo>
                <a:lnTo>
                  <a:pt x="2844089" y="393602"/>
                </a:lnTo>
                <a:lnTo>
                  <a:pt x="3250387" y="0"/>
                </a:lnTo>
                <a:lnTo>
                  <a:pt x="3656686" y="393602"/>
                </a:lnTo>
                <a:lnTo>
                  <a:pt x="4062984" y="0"/>
                </a:lnTo>
                <a:lnTo>
                  <a:pt x="4469283" y="393602"/>
                </a:lnTo>
                <a:lnTo>
                  <a:pt x="4875581" y="0"/>
                </a:lnTo>
                <a:lnTo>
                  <a:pt x="5281879" y="393602"/>
                </a:lnTo>
                <a:lnTo>
                  <a:pt x="5688178" y="0"/>
                </a:lnTo>
                <a:lnTo>
                  <a:pt x="6094476" y="393602"/>
                </a:lnTo>
                <a:lnTo>
                  <a:pt x="6500775" y="0"/>
                </a:lnTo>
                <a:lnTo>
                  <a:pt x="6907073" y="393602"/>
                </a:lnTo>
                <a:lnTo>
                  <a:pt x="7313371" y="0"/>
                </a:lnTo>
                <a:lnTo>
                  <a:pt x="7719670" y="393602"/>
                </a:lnTo>
                <a:lnTo>
                  <a:pt x="8125968" y="0"/>
                </a:lnTo>
                <a:lnTo>
                  <a:pt x="8532266" y="393602"/>
                </a:lnTo>
                <a:lnTo>
                  <a:pt x="8938565" y="0"/>
                </a:lnTo>
                <a:lnTo>
                  <a:pt x="9344863" y="393602"/>
                </a:lnTo>
                <a:lnTo>
                  <a:pt x="9751162" y="0"/>
                </a:lnTo>
                <a:lnTo>
                  <a:pt x="10157460" y="393602"/>
                </a:lnTo>
                <a:lnTo>
                  <a:pt x="10563758" y="0"/>
                </a:lnTo>
                <a:lnTo>
                  <a:pt x="10970057" y="393602"/>
                </a:lnTo>
                <a:lnTo>
                  <a:pt x="11376355" y="0"/>
                </a:lnTo>
                <a:lnTo>
                  <a:pt x="11782654" y="393602"/>
                </a:lnTo>
                <a:close/>
              </a:path>
            </a:pathLst>
          </a:custGeom>
          <a:solidFill>
            <a:schemeClr val="accent5"/>
          </a:soli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Graphic 3">
            <a:extLst>
              <a:ext uri="{FF2B5EF4-FFF2-40B4-BE49-F238E27FC236}">
                <a16:creationId xmlns:a16="http://schemas.microsoft.com/office/drawing/2014/main" id="{042BD36D-E763-406E-80F6-9A8BF466969E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ED9ED8-6696-471C-AE28-12A9A0B70B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758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84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brow">
            <a:extLst>
              <a:ext uri="{FF2B5EF4-FFF2-40B4-BE49-F238E27FC236}">
                <a16:creationId xmlns:a16="http://schemas.microsoft.com/office/drawing/2014/main" id="{48D18D2C-3CAC-4960-81EF-43B50030760B}"/>
              </a:ext>
            </a:extLst>
          </p:cNvPr>
          <p:cNvGrpSpPr/>
          <p:nvPr/>
        </p:nvGrpSpPr>
        <p:grpSpPr>
          <a:xfrm>
            <a:off x="10027920" y="228600"/>
            <a:ext cx="1828800" cy="914400"/>
            <a:chOff x="10027920" y="2606040"/>
            <a:chExt cx="1828800" cy="914400"/>
          </a:xfrm>
          <a:solidFill>
            <a:schemeClr val="accent1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2916CA-482F-410B-8F5F-999B8A5606B0}"/>
                </a:ext>
              </a:extLst>
            </p:cNvPr>
            <p:cNvSpPr/>
            <p:nvPr/>
          </p:nvSpPr>
          <p:spPr>
            <a:xfrm>
              <a:off x="10027920" y="2606040"/>
              <a:ext cx="1828800" cy="1828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2DA3C7-0514-4C41-B1CC-10A18B6A7810}"/>
                </a:ext>
              </a:extLst>
            </p:cNvPr>
            <p:cNvSpPr/>
            <p:nvPr/>
          </p:nvSpPr>
          <p:spPr>
            <a:xfrm>
              <a:off x="11673840" y="2606040"/>
              <a:ext cx="182880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  <p:sp>
        <p:nvSpPr>
          <p:cNvPr id="5" name="Title">
            <a:extLst>
              <a:ext uri="{FF2B5EF4-FFF2-40B4-BE49-F238E27FC236}">
                <a16:creationId xmlns:a16="http://schemas.microsoft.com/office/drawing/2014/main" id="{6B5B6BBA-FD45-41F6-9564-1F7EBBB74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91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76072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689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4D4F4101-10C5-4019-90A9-11F504117E2C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7B3453-D9F6-43AF-B722-4CCF6B26FB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8999"/>
            <a:ext cx="5760720" cy="3200399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796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95532DA-6405-471A-924F-9BD6A6B1F3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79" y="228600"/>
            <a:ext cx="7791133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79" y="3429000"/>
            <a:ext cx="7791133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633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371600"/>
            <a:ext cx="11521757" cy="1828800"/>
          </a:xfrm>
        </p:spPr>
        <p:txBody>
          <a:bodyPr lIns="91440" rIns="91440" anchor="t" anchorCtr="0">
            <a:no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62A543-3733-441F-8567-155CE2234F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 flipH="1">
            <a:off x="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885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440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5A367CF-DC60-40EA-9DDA-9041D5B07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438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130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810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5437C5E-E688-406B-9B99-43A0D27B5D9D}"/>
              </a:ext>
            </a:extLst>
          </p:cNvPr>
          <p:cNvSpPr/>
          <p:nvPr/>
        </p:nvSpPr>
        <p:spPr>
          <a:xfrm>
            <a:off x="1524" y="1714"/>
            <a:ext cx="12186412" cy="6856286"/>
          </a:xfrm>
          <a:custGeom>
            <a:avLst/>
            <a:gdLst>
              <a:gd name="connsiteX0" fmla="*/ 12186412 w 12186412"/>
              <a:gd name="connsiteY0" fmla="*/ 2539 h 6856286"/>
              <a:gd name="connsiteX1" fmla="*/ 12186412 w 12186412"/>
              <a:gd name="connsiteY1" fmla="*/ 6856286 h 6856286"/>
              <a:gd name="connsiteX2" fmla="*/ 0 w 12186412"/>
              <a:gd name="connsiteY2" fmla="*/ 6856286 h 6856286"/>
              <a:gd name="connsiteX3" fmla="*/ 0 w 12186412"/>
              <a:gd name="connsiteY3" fmla="*/ 0 h 6856286"/>
              <a:gd name="connsiteX4" fmla="*/ 406298 w 12186412"/>
              <a:gd name="connsiteY4" fmla="*/ 393602 h 6856286"/>
              <a:gd name="connsiteX5" fmla="*/ 812597 w 12186412"/>
              <a:gd name="connsiteY5" fmla="*/ 0 h 6856286"/>
              <a:gd name="connsiteX6" fmla="*/ 1218895 w 12186412"/>
              <a:gd name="connsiteY6" fmla="*/ 393602 h 6856286"/>
              <a:gd name="connsiteX7" fmla="*/ 1625194 w 12186412"/>
              <a:gd name="connsiteY7" fmla="*/ 0 h 6856286"/>
              <a:gd name="connsiteX8" fmla="*/ 2031492 w 12186412"/>
              <a:gd name="connsiteY8" fmla="*/ 393602 h 6856286"/>
              <a:gd name="connsiteX9" fmla="*/ 2437791 w 12186412"/>
              <a:gd name="connsiteY9" fmla="*/ 0 h 6856286"/>
              <a:gd name="connsiteX10" fmla="*/ 2844089 w 12186412"/>
              <a:gd name="connsiteY10" fmla="*/ 393602 h 6856286"/>
              <a:gd name="connsiteX11" fmla="*/ 3250387 w 12186412"/>
              <a:gd name="connsiteY11" fmla="*/ 0 h 6856286"/>
              <a:gd name="connsiteX12" fmla="*/ 3656686 w 12186412"/>
              <a:gd name="connsiteY12" fmla="*/ 393602 h 6856286"/>
              <a:gd name="connsiteX13" fmla="*/ 4062984 w 12186412"/>
              <a:gd name="connsiteY13" fmla="*/ 0 h 6856286"/>
              <a:gd name="connsiteX14" fmla="*/ 4469283 w 12186412"/>
              <a:gd name="connsiteY14" fmla="*/ 393602 h 6856286"/>
              <a:gd name="connsiteX15" fmla="*/ 4875581 w 12186412"/>
              <a:gd name="connsiteY15" fmla="*/ 0 h 6856286"/>
              <a:gd name="connsiteX16" fmla="*/ 5281879 w 12186412"/>
              <a:gd name="connsiteY16" fmla="*/ 393602 h 6856286"/>
              <a:gd name="connsiteX17" fmla="*/ 5688178 w 12186412"/>
              <a:gd name="connsiteY17" fmla="*/ 0 h 6856286"/>
              <a:gd name="connsiteX18" fmla="*/ 6094476 w 12186412"/>
              <a:gd name="connsiteY18" fmla="*/ 393602 h 6856286"/>
              <a:gd name="connsiteX19" fmla="*/ 6500775 w 12186412"/>
              <a:gd name="connsiteY19" fmla="*/ 0 h 6856286"/>
              <a:gd name="connsiteX20" fmla="*/ 6907073 w 12186412"/>
              <a:gd name="connsiteY20" fmla="*/ 393602 h 6856286"/>
              <a:gd name="connsiteX21" fmla="*/ 7313371 w 12186412"/>
              <a:gd name="connsiteY21" fmla="*/ 0 h 6856286"/>
              <a:gd name="connsiteX22" fmla="*/ 7719670 w 12186412"/>
              <a:gd name="connsiteY22" fmla="*/ 393602 h 6856286"/>
              <a:gd name="connsiteX23" fmla="*/ 8125968 w 12186412"/>
              <a:gd name="connsiteY23" fmla="*/ 0 h 6856286"/>
              <a:gd name="connsiteX24" fmla="*/ 8532266 w 12186412"/>
              <a:gd name="connsiteY24" fmla="*/ 393602 h 6856286"/>
              <a:gd name="connsiteX25" fmla="*/ 8938565 w 12186412"/>
              <a:gd name="connsiteY25" fmla="*/ 0 h 6856286"/>
              <a:gd name="connsiteX26" fmla="*/ 9344863 w 12186412"/>
              <a:gd name="connsiteY26" fmla="*/ 393602 h 6856286"/>
              <a:gd name="connsiteX27" fmla="*/ 9751162 w 12186412"/>
              <a:gd name="connsiteY27" fmla="*/ 0 h 6856286"/>
              <a:gd name="connsiteX28" fmla="*/ 10157460 w 12186412"/>
              <a:gd name="connsiteY28" fmla="*/ 393602 h 6856286"/>
              <a:gd name="connsiteX29" fmla="*/ 10563758 w 12186412"/>
              <a:gd name="connsiteY29" fmla="*/ 0 h 6856286"/>
              <a:gd name="connsiteX30" fmla="*/ 10970057 w 12186412"/>
              <a:gd name="connsiteY30" fmla="*/ 393602 h 6856286"/>
              <a:gd name="connsiteX31" fmla="*/ 11376355 w 12186412"/>
              <a:gd name="connsiteY31" fmla="*/ 0 h 6856286"/>
              <a:gd name="connsiteX32" fmla="*/ 11782654 w 12186412"/>
              <a:gd name="connsiteY32" fmla="*/ 393602 h 685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186412" h="6856286">
                <a:moveTo>
                  <a:pt x="12186412" y="2539"/>
                </a:moveTo>
                <a:lnTo>
                  <a:pt x="12186412" y="6856286"/>
                </a:lnTo>
                <a:lnTo>
                  <a:pt x="0" y="6856286"/>
                </a:lnTo>
                <a:lnTo>
                  <a:pt x="0" y="0"/>
                </a:lnTo>
                <a:lnTo>
                  <a:pt x="406298" y="393602"/>
                </a:lnTo>
                <a:lnTo>
                  <a:pt x="812597" y="0"/>
                </a:lnTo>
                <a:lnTo>
                  <a:pt x="1218895" y="393602"/>
                </a:lnTo>
                <a:lnTo>
                  <a:pt x="1625194" y="0"/>
                </a:lnTo>
                <a:lnTo>
                  <a:pt x="2031492" y="393602"/>
                </a:lnTo>
                <a:lnTo>
                  <a:pt x="2437791" y="0"/>
                </a:lnTo>
                <a:lnTo>
                  <a:pt x="2844089" y="393602"/>
                </a:lnTo>
                <a:lnTo>
                  <a:pt x="3250387" y="0"/>
                </a:lnTo>
                <a:lnTo>
                  <a:pt x="3656686" y="393602"/>
                </a:lnTo>
                <a:lnTo>
                  <a:pt x="4062984" y="0"/>
                </a:lnTo>
                <a:lnTo>
                  <a:pt x="4469283" y="393602"/>
                </a:lnTo>
                <a:lnTo>
                  <a:pt x="4875581" y="0"/>
                </a:lnTo>
                <a:lnTo>
                  <a:pt x="5281879" y="393602"/>
                </a:lnTo>
                <a:lnTo>
                  <a:pt x="5688178" y="0"/>
                </a:lnTo>
                <a:lnTo>
                  <a:pt x="6094476" y="393602"/>
                </a:lnTo>
                <a:lnTo>
                  <a:pt x="6500775" y="0"/>
                </a:lnTo>
                <a:lnTo>
                  <a:pt x="6907073" y="393602"/>
                </a:lnTo>
                <a:lnTo>
                  <a:pt x="7313371" y="0"/>
                </a:lnTo>
                <a:lnTo>
                  <a:pt x="7719670" y="393602"/>
                </a:lnTo>
                <a:lnTo>
                  <a:pt x="8125968" y="0"/>
                </a:lnTo>
                <a:lnTo>
                  <a:pt x="8532266" y="393602"/>
                </a:lnTo>
                <a:lnTo>
                  <a:pt x="8938565" y="0"/>
                </a:lnTo>
                <a:lnTo>
                  <a:pt x="9344863" y="393602"/>
                </a:lnTo>
                <a:lnTo>
                  <a:pt x="9751162" y="0"/>
                </a:lnTo>
                <a:lnTo>
                  <a:pt x="10157460" y="393602"/>
                </a:lnTo>
                <a:lnTo>
                  <a:pt x="10563758" y="0"/>
                </a:lnTo>
                <a:lnTo>
                  <a:pt x="10970057" y="393602"/>
                </a:lnTo>
                <a:lnTo>
                  <a:pt x="11376355" y="0"/>
                </a:lnTo>
                <a:lnTo>
                  <a:pt x="11782654" y="393602"/>
                </a:lnTo>
                <a:close/>
              </a:path>
            </a:pathLst>
          </a:custGeom>
          <a:solidFill>
            <a:schemeClr val="accent5"/>
          </a:soli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Graphic 3">
            <a:extLst>
              <a:ext uri="{FF2B5EF4-FFF2-40B4-BE49-F238E27FC236}">
                <a16:creationId xmlns:a16="http://schemas.microsoft.com/office/drawing/2014/main" id="{042BD36D-E763-406E-80F6-9A8BF466969E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ED9ED8-6696-471C-AE28-12A9A0B70B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758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137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756" y="228600"/>
            <a:ext cx="8980963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632972-0214-46FD-A878-4AF515D597F4}"/>
              </a:ext>
            </a:extLst>
          </p:cNvPr>
          <p:cNvGrpSpPr>
            <a:grpSpLocks noChangeAspect="1"/>
          </p:cNvGrpSpPr>
          <p:nvPr/>
        </p:nvGrpSpPr>
        <p:grpSpPr>
          <a:xfrm>
            <a:off x="335280" y="0"/>
            <a:ext cx="2286430" cy="6858000"/>
            <a:chOff x="5238750" y="409575"/>
            <a:chExt cx="1714500" cy="514254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5963C2-1EC4-4E2D-B75E-6A546BA39706}"/>
                </a:ext>
              </a:extLst>
            </p:cNvPr>
            <p:cNvSpPr/>
            <p:nvPr/>
          </p:nvSpPr>
          <p:spPr>
            <a:xfrm>
              <a:off x="5238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C0229-DA67-47A9-BA7A-97AB3FAED288}"/>
                </a:ext>
              </a:extLst>
            </p:cNvPr>
            <p:cNvSpPr/>
            <p:nvPr/>
          </p:nvSpPr>
          <p:spPr>
            <a:xfrm>
              <a:off x="5619750" y="409575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808164D-01AB-4096-8422-767E7658E3BD}"/>
                </a:ext>
              </a:extLst>
            </p:cNvPr>
            <p:cNvSpPr/>
            <p:nvPr/>
          </p:nvSpPr>
          <p:spPr>
            <a:xfrm>
              <a:off x="6000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F8088A8-1325-4B25-BB22-E64A88DB3072}"/>
                </a:ext>
              </a:extLst>
            </p:cNvPr>
            <p:cNvSpPr/>
            <p:nvPr/>
          </p:nvSpPr>
          <p:spPr>
            <a:xfrm>
              <a:off x="6381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C4AB042-B90E-4B77-9862-8671275DF8D8}"/>
                </a:ext>
              </a:extLst>
            </p:cNvPr>
            <p:cNvSpPr/>
            <p:nvPr/>
          </p:nvSpPr>
          <p:spPr>
            <a:xfrm>
              <a:off x="6762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C924AC-3033-4505-8283-CCF2557C0F0A}"/>
                </a:ext>
              </a:extLst>
            </p:cNvPr>
            <p:cNvSpPr/>
            <p:nvPr/>
          </p:nvSpPr>
          <p:spPr>
            <a:xfrm>
              <a:off x="5238750" y="4918710"/>
              <a:ext cx="1714500" cy="632461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9132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756" y="228600"/>
            <a:ext cx="8980963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632972-0214-46FD-A878-4AF515D597F4}"/>
              </a:ext>
            </a:extLst>
          </p:cNvPr>
          <p:cNvGrpSpPr>
            <a:grpSpLocks noChangeAspect="1"/>
          </p:cNvGrpSpPr>
          <p:nvPr/>
        </p:nvGrpSpPr>
        <p:grpSpPr>
          <a:xfrm>
            <a:off x="335280" y="0"/>
            <a:ext cx="2286430" cy="6858000"/>
            <a:chOff x="5238750" y="409575"/>
            <a:chExt cx="1714500" cy="514254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5963C2-1EC4-4E2D-B75E-6A546BA39706}"/>
                </a:ext>
              </a:extLst>
            </p:cNvPr>
            <p:cNvSpPr/>
            <p:nvPr/>
          </p:nvSpPr>
          <p:spPr>
            <a:xfrm>
              <a:off x="5238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C0229-DA67-47A9-BA7A-97AB3FAED288}"/>
                </a:ext>
              </a:extLst>
            </p:cNvPr>
            <p:cNvSpPr/>
            <p:nvPr/>
          </p:nvSpPr>
          <p:spPr>
            <a:xfrm>
              <a:off x="5619750" y="409575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808164D-01AB-4096-8422-767E7658E3BD}"/>
                </a:ext>
              </a:extLst>
            </p:cNvPr>
            <p:cNvSpPr/>
            <p:nvPr/>
          </p:nvSpPr>
          <p:spPr>
            <a:xfrm>
              <a:off x="6000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F8088A8-1325-4B25-BB22-E64A88DB3072}"/>
                </a:ext>
              </a:extLst>
            </p:cNvPr>
            <p:cNvSpPr/>
            <p:nvPr/>
          </p:nvSpPr>
          <p:spPr>
            <a:xfrm>
              <a:off x="6381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C4AB042-B90E-4B77-9862-8671275DF8D8}"/>
                </a:ext>
              </a:extLst>
            </p:cNvPr>
            <p:cNvSpPr/>
            <p:nvPr/>
          </p:nvSpPr>
          <p:spPr>
            <a:xfrm>
              <a:off x="6762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C924AC-3033-4505-8283-CCF2557C0F0A}"/>
                </a:ext>
              </a:extLst>
            </p:cNvPr>
            <p:cNvSpPr/>
            <p:nvPr/>
          </p:nvSpPr>
          <p:spPr>
            <a:xfrm>
              <a:off x="5238750" y="4918710"/>
              <a:ext cx="1714500" cy="632461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8589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ABB8FC-068B-454D-9279-EEDCA4E00E56}"/>
              </a:ext>
            </a:extLst>
          </p:cNvPr>
          <p:cNvGrpSpPr/>
          <p:nvPr/>
        </p:nvGrpSpPr>
        <p:grpSpPr>
          <a:xfrm>
            <a:off x="1" y="4754880"/>
            <a:ext cx="12191999" cy="1600200"/>
            <a:chOff x="1" y="4434840"/>
            <a:chExt cx="12191999" cy="16002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2FD6D-9BB1-4612-8DD8-CAF4D5414568}"/>
                </a:ext>
              </a:extLst>
            </p:cNvPr>
            <p:cNvSpPr/>
            <p:nvPr/>
          </p:nvSpPr>
          <p:spPr>
            <a:xfrm rot="16200000">
              <a:off x="6005973" y="-5043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12B5A68-8EF0-4C7A-BB81-09E4A111F215}"/>
                </a:ext>
              </a:extLst>
            </p:cNvPr>
            <p:cNvSpPr/>
            <p:nvPr/>
          </p:nvSpPr>
          <p:spPr>
            <a:xfrm rot="16200000">
              <a:off x="6008229" y="-8599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B76E9FD-333B-466B-B295-21DA9ACF7BE7}"/>
                </a:ext>
              </a:extLst>
            </p:cNvPr>
            <p:cNvSpPr/>
            <p:nvPr/>
          </p:nvSpPr>
          <p:spPr>
            <a:xfrm rot="16200000">
              <a:off x="6008229" y="-12155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045688-A1C0-480A-9010-2510EC13EDC5}"/>
                </a:ext>
              </a:extLst>
            </p:cNvPr>
            <p:cNvSpPr/>
            <p:nvPr/>
          </p:nvSpPr>
          <p:spPr>
            <a:xfrm rot="16200000">
              <a:off x="5711953" y="147543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3D596E4-0307-4E52-955E-5219321EC1D3}"/>
                </a:ext>
              </a:extLst>
            </p:cNvPr>
            <p:cNvSpPr/>
            <p:nvPr/>
          </p:nvSpPr>
          <p:spPr>
            <a:xfrm rot="16200000">
              <a:off x="5711953" y="-1274857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10CF1A0-CD05-48CA-9136-69F8EB2488E9}"/>
                </a:ext>
              </a:extLst>
            </p:cNvPr>
            <p:cNvSpPr/>
            <p:nvPr/>
          </p:nvSpPr>
          <p:spPr>
            <a:xfrm rot="16200000">
              <a:off x="11095865" y="4939792"/>
              <a:ext cx="1600200" cy="590295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2394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645E44C-BC01-4C20-BC03-C07046E16E25}"/>
              </a:ext>
            </a:extLst>
          </p:cNvPr>
          <p:cNvSpPr/>
          <p:nvPr/>
        </p:nvSpPr>
        <p:spPr>
          <a:xfrm flipV="1">
            <a:off x="6094196" y="228600"/>
            <a:ext cx="6097804" cy="6629400"/>
          </a:xfrm>
          <a:custGeom>
            <a:avLst/>
            <a:gdLst>
              <a:gd name="connsiteX0" fmla="*/ 2439 w 6097804"/>
              <a:gd name="connsiteY0" fmla="*/ 6629400 h 6629400"/>
              <a:gd name="connsiteX1" fmla="*/ 307303 w 6097804"/>
              <a:gd name="connsiteY1" fmla="*/ 6332812 h 6629400"/>
              <a:gd name="connsiteX2" fmla="*/ 612167 w 6097804"/>
              <a:gd name="connsiteY2" fmla="*/ 6629400 h 6629400"/>
              <a:gd name="connsiteX3" fmla="*/ 917030 w 6097804"/>
              <a:gd name="connsiteY3" fmla="*/ 6332812 h 6629400"/>
              <a:gd name="connsiteX4" fmla="*/ 1221894 w 6097804"/>
              <a:gd name="connsiteY4" fmla="*/ 6629400 h 6629400"/>
              <a:gd name="connsiteX5" fmla="*/ 1526757 w 6097804"/>
              <a:gd name="connsiteY5" fmla="*/ 6332812 h 6629400"/>
              <a:gd name="connsiteX6" fmla="*/ 1831621 w 6097804"/>
              <a:gd name="connsiteY6" fmla="*/ 6629400 h 6629400"/>
              <a:gd name="connsiteX7" fmla="*/ 2136484 w 6097804"/>
              <a:gd name="connsiteY7" fmla="*/ 6332812 h 6629400"/>
              <a:gd name="connsiteX8" fmla="*/ 2441348 w 6097804"/>
              <a:gd name="connsiteY8" fmla="*/ 6629400 h 6629400"/>
              <a:gd name="connsiteX9" fmla="*/ 2746212 w 6097804"/>
              <a:gd name="connsiteY9" fmla="*/ 6332812 h 6629400"/>
              <a:gd name="connsiteX10" fmla="*/ 3051074 w 6097804"/>
              <a:gd name="connsiteY10" fmla="*/ 6629400 h 6629400"/>
              <a:gd name="connsiteX11" fmla="*/ 3355938 w 6097804"/>
              <a:gd name="connsiteY11" fmla="*/ 6332812 h 6629400"/>
              <a:gd name="connsiteX12" fmla="*/ 3660802 w 6097804"/>
              <a:gd name="connsiteY12" fmla="*/ 6629400 h 6629400"/>
              <a:gd name="connsiteX13" fmla="*/ 3965665 w 6097804"/>
              <a:gd name="connsiteY13" fmla="*/ 6332812 h 6629400"/>
              <a:gd name="connsiteX14" fmla="*/ 4270529 w 6097804"/>
              <a:gd name="connsiteY14" fmla="*/ 6629400 h 6629400"/>
              <a:gd name="connsiteX15" fmla="*/ 4575392 w 6097804"/>
              <a:gd name="connsiteY15" fmla="*/ 6332812 h 6629400"/>
              <a:gd name="connsiteX16" fmla="*/ 4880256 w 6097804"/>
              <a:gd name="connsiteY16" fmla="*/ 6629400 h 6629400"/>
              <a:gd name="connsiteX17" fmla="*/ 5185120 w 6097804"/>
              <a:gd name="connsiteY17" fmla="*/ 6332812 h 6629400"/>
              <a:gd name="connsiteX18" fmla="*/ 5489983 w 6097804"/>
              <a:gd name="connsiteY18" fmla="*/ 6629400 h 6629400"/>
              <a:gd name="connsiteX19" fmla="*/ 5794847 w 6097804"/>
              <a:gd name="connsiteY19" fmla="*/ 6332812 h 6629400"/>
              <a:gd name="connsiteX20" fmla="*/ 6097804 w 6097804"/>
              <a:gd name="connsiteY20" fmla="*/ 6627487 h 6629400"/>
              <a:gd name="connsiteX21" fmla="*/ 6097804 w 6097804"/>
              <a:gd name="connsiteY21" fmla="*/ 1463040 h 6629400"/>
              <a:gd name="connsiteX22" fmla="*/ 6097804 w 6097804"/>
              <a:gd name="connsiteY22" fmla="*/ 0 h 6629400"/>
              <a:gd name="connsiteX23" fmla="*/ 1804 w 6097804"/>
              <a:gd name="connsiteY23" fmla="*/ 0 h 6629400"/>
              <a:gd name="connsiteX24" fmla="*/ 1804 w 6097804"/>
              <a:gd name="connsiteY24" fmla="*/ 1463040 h 6629400"/>
              <a:gd name="connsiteX25" fmla="*/ 0 w 6097804"/>
              <a:gd name="connsiteY25" fmla="*/ 1463040 h 6629400"/>
              <a:gd name="connsiteX26" fmla="*/ 0 w 6097804"/>
              <a:gd name="connsiteY26" fmla="*/ 6627027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097804" h="6629400">
                <a:moveTo>
                  <a:pt x="2439" y="6629400"/>
                </a:moveTo>
                <a:lnTo>
                  <a:pt x="307303" y="6332812"/>
                </a:lnTo>
                <a:lnTo>
                  <a:pt x="612167" y="6629400"/>
                </a:lnTo>
                <a:lnTo>
                  <a:pt x="917030" y="6332812"/>
                </a:lnTo>
                <a:lnTo>
                  <a:pt x="1221894" y="6629400"/>
                </a:lnTo>
                <a:lnTo>
                  <a:pt x="1526757" y="6332812"/>
                </a:lnTo>
                <a:lnTo>
                  <a:pt x="1831621" y="6629400"/>
                </a:lnTo>
                <a:lnTo>
                  <a:pt x="2136484" y="6332812"/>
                </a:lnTo>
                <a:lnTo>
                  <a:pt x="2441348" y="6629400"/>
                </a:lnTo>
                <a:lnTo>
                  <a:pt x="2746212" y="6332812"/>
                </a:lnTo>
                <a:lnTo>
                  <a:pt x="3051074" y="6629400"/>
                </a:lnTo>
                <a:lnTo>
                  <a:pt x="3355938" y="6332812"/>
                </a:lnTo>
                <a:lnTo>
                  <a:pt x="3660802" y="6629400"/>
                </a:lnTo>
                <a:lnTo>
                  <a:pt x="3965665" y="6332812"/>
                </a:lnTo>
                <a:lnTo>
                  <a:pt x="4270529" y="6629400"/>
                </a:lnTo>
                <a:lnTo>
                  <a:pt x="4575392" y="6332812"/>
                </a:lnTo>
                <a:lnTo>
                  <a:pt x="4880256" y="6629400"/>
                </a:lnTo>
                <a:lnTo>
                  <a:pt x="5185120" y="6332812"/>
                </a:lnTo>
                <a:lnTo>
                  <a:pt x="5489983" y="6629400"/>
                </a:lnTo>
                <a:lnTo>
                  <a:pt x="5794847" y="6332812"/>
                </a:lnTo>
                <a:lnTo>
                  <a:pt x="6097804" y="6627487"/>
                </a:lnTo>
                <a:lnTo>
                  <a:pt x="6097804" y="1463040"/>
                </a:lnTo>
                <a:lnTo>
                  <a:pt x="6097804" y="0"/>
                </a:lnTo>
                <a:lnTo>
                  <a:pt x="1804" y="0"/>
                </a:lnTo>
                <a:lnTo>
                  <a:pt x="1804" y="1463040"/>
                </a:lnTo>
                <a:lnTo>
                  <a:pt x="0" y="1463040"/>
                </a:lnTo>
                <a:lnTo>
                  <a:pt x="0" y="662702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64E614CC-7161-451C-B27F-99D746FC8F2F}"/>
              </a:ext>
            </a:extLst>
          </p:cNvPr>
          <p:cNvSpPr>
            <a:spLocks/>
          </p:cNvSpPr>
          <p:nvPr/>
        </p:nvSpPr>
        <p:spPr>
          <a:xfrm>
            <a:off x="6092672" y="6263640"/>
            <a:ext cx="6097804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38DE18-F374-442B-82ED-D998FAF428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4" t="1" r="34344" b="25889"/>
          <a:stretch/>
        </p:blipFill>
        <p:spPr>
          <a:xfrm>
            <a:off x="6964681" y="2148840"/>
            <a:ext cx="5227320" cy="4709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898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5306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E383472-5454-443F-B162-B33D70911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91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9F6F5170-03E0-4F11-AD88-551021EC7DEF}"/>
              </a:ext>
            </a:extLst>
          </p:cNvPr>
          <p:cNvSpPr>
            <a:spLocks/>
          </p:cNvSpPr>
          <p:nvPr/>
        </p:nvSpPr>
        <p:spPr>
          <a:xfrm>
            <a:off x="6096000" y="0"/>
            <a:ext cx="6094476" cy="685800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BDF2A30-DAEF-4E68-9D46-A16C728E72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554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43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alf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48640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48640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682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333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2C1C68-0BE4-4BD4-B4AB-0C9493C17F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7414ACF-E6E1-45E5-8EE2-D495C7FC11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70320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D42FBD-6323-4A31-AF80-88838F4246B6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474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B21A2B-35BD-410F-9AAB-71DFDFC64FE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1FDE994-B156-4570-A031-139DD055797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6720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92B91E1A-CCE9-4D10-A61F-184C0847C69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9912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60295B-F6FA-4FAF-814B-9BFEFD489A84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Graphic 13">
            <a:extLst>
              <a:ext uri="{FF2B5EF4-FFF2-40B4-BE49-F238E27FC236}">
                <a16:creationId xmlns:a16="http://schemas.microsoft.com/office/drawing/2014/main" id="{129DBC58-1033-4F8F-81C4-678D1A47381F}"/>
              </a:ext>
            </a:extLst>
          </p:cNvPr>
          <p:cNvSpPr>
            <a:spLocks noChangeAspect="1"/>
          </p:cNvSpPr>
          <p:nvPr/>
        </p:nvSpPr>
        <p:spPr>
          <a:xfrm>
            <a:off x="10204532" y="6355080"/>
            <a:ext cx="1332148" cy="502920"/>
          </a:xfrm>
          <a:custGeom>
            <a:avLst/>
            <a:gdLst>
              <a:gd name="connsiteX0" fmla="*/ 1342918 w 1343247"/>
              <a:gd name="connsiteY0" fmla="*/ 37719 h 507110"/>
              <a:gd name="connsiteX1" fmla="*/ 1310787 w 1343247"/>
              <a:gd name="connsiteY1" fmla="*/ 0 h 507110"/>
              <a:gd name="connsiteX2" fmla="*/ 705886 w 1343247"/>
              <a:gd name="connsiteY2" fmla="*/ 0 h 507110"/>
              <a:gd name="connsiteX3" fmla="*/ 4592 w 1343247"/>
              <a:gd name="connsiteY3" fmla="*/ 494538 h 507110"/>
              <a:gd name="connsiteX4" fmla="*/ 5989 w 1343247"/>
              <a:gd name="connsiteY4" fmla="*/ 507111 h 507110"/>
              <a:gd name="connsiteX5" fmla="*/ 781324 w 1343247"/>
              <a:gd name="connsiteY5" fmla="*/ 507111 h 507110"/>
              <a:gd name="connsiteX6" fmla="*/ 1342918 w 1343247"/>
              <a:gd name="connsiteY6" fmla="*/ 37719 h 50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247" h="507110">
                <a:moveTo>
                  <a:pt x="1342918" y="37719"/>
                </a:moveTo>
                <a:cubicBezTo>
                  <a:pt x="1345712" y="18161"/>
                  <a:pt x="1330345" y="0"/>
                  <a:pt x="1310787" y="0"/>
                </a:cubicBezTo>
                <a:lnTo>
                  <a:pt x="705886" y="0"/>
                </a:lnTo>
                <a:cubicBezTo>
                  <a:pt x="229509" y="0"/>
                  <a:pt x="323108" y="409321"/>
                  <a:pt x="4592" y="494538"/>
                </a:cubicBezTo>
                <a:cubicBezTo>
                  <a:pt x="-2393" y="495935"/>
                  <a:pt x="-996" y="507111"/>
                  <a:pt x="5989" y="507111"/>
                </a:cubicBezTo>
                <a:lnTo>
                  <a:pt x="781324" y="507111"/>
                </a:lnTo>
                <a:cubicBezTo>
                  <a:pt x="1024402" y="507111"/>
                  <a:pt x="1301008" y="333883"/>
                  <a:pt x="1342918" y="37719"/>
                </a:cubicBezTo>
                <a:close/>
              </a:path>
            </a:pathLst>
          </a:custGeom>
          <a:solidFill>
            <a:srgbClr val="C8161D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574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ags" Target="../tags/tag3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34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ags" Target="../tags/tag33.xml"/><Relationship Id="rId35" Type="http://schemas.openxmlformats.org/officeDocument/2006/relationships/image" Target="../media/image11.png"/><Relationship Id="rId8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tags" Target="../tags/tag6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ags" Target="../tags/tag66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tags" Target="../tags/tag65.xml"/><Relationship Id="rId28" Type="http://schemas.openxmlformats.org/officeDocument/2006/relationships/image" Target="../media/image11.png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heme" Target="../theme/theme3.xml"/><Relationship Id="rId27" Type="http://schemas.openxmlformats.org/officeDocument/2006/relationships/image" Target="../media/image10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tags" Target="../tags/tag89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7315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235075"/>
            <a:ext cx="11522075" cy="5119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33"/>
    </p:custDataLst>
    <p:extLst>
      <p:ext uri="{BB962C8B-B14F-4D97-AF65-F5344CB8AC3E}">
        <p14:creationId xmlns:p14="http://schemas.microsoft.com/office/powerpoint/2010/main" val="266212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20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2561">
          <p15:clr>
            <a:srgbClr val="F26B43"/>
          </p15:clr>
        </p15:guide>
        <p15:guide id="5" pos="5119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01" imgH="502" progId="TCLayout.ActiveDocument.1">
                  <p:embed/>
                </p:oleObj>
              </mc:Choice>
              <mc:Fallback>
                <p:oleObj name="think-cell Slide" r:id="rId33" imgW="501" imgH="502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2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3DD038-D290-4952-9A79-54683E176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11245850" cy="640080"/>
          </a:xfrm>
          <a:prstGeom prst="rect">
            <a:avLst/>
          </a:prstGeom>
        </p:spPr>
        <p:txBody>
          <a:bodyPr vert="horz" lIns="137160" tIns="13716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80160"/>
            <a:ext cx="11245850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2CAB7C-07EB-4115-B93E-E3BAE87D6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7614" y="64870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30"/>
    </p:custDataLst>
    <p:extLst>
      <p:ext uri="{BB962C8B-B14F-4D97-AF65-F5344CB8AC3E}">
        <p14:creationId xmlns:p14="http://schemas.microsoft.com/office/powerpoint/2010/main" val="1730110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8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35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98">
          <p15:clr>
            <a:srgbClr val="F26B43"/>
          </p15:clr>
        </p15:guide>
        <p15:guide id="4" pos="7382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pos="3552">
          <p15:clr>
            <a:srgbClr val="F26B43"/>
          </p15:clr>
        </p15:guide>
        <p15:guide id="10" pos="1910">
          <p15:clr>
            <a:srgbClr val="F26B43"/>
          </p15:clr>
        </p15:guide>
        <p15:guide id="11" pos="4128">
          <p15:clr>
            <a:srgbClr val="F26B43"/>
          </p15:clr>
        </p15:guide>
        <p15:guide id="12" pos="40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01" imgH="502" progId="TCLayout.ActiveDocument.1">
                  <p:embed/>
                </p:oleObj>
              </mc:Choice>
              <mc:Fallback>
                <p:oleObj name="think-cell Slide" r:id="rId26" imgW="501" imgH="502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5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3DD038-D290-4952-9A79-54683E176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11245850" cy="640080"/>
          </a:xfrm>
          <a:prstGeom prst="rect">
            <a:avLst/>
          </a:prstGeom>
        </p:spPr>
        <p:txBody>
          <a:bodyPr vert="horz" lIns="137160" tIns="13716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80160"/>
            <a:ext cx="11245850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2CAB7C-07EB-4115-B93E-E3BAE87D6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7614" y="64870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23"/>
    </p:custDataLst>
    <p:extLst>
      <p:ext uri="{BB962C8B-B14F-4D97-AF65-F5344CB8AC3E}">
        <p14:creationId xmlns:p14="http://schemas.microsoft.com/office/powerpoint/2010/main" val="10186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8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98">
          <p15:clr>
            <a:srgbClr val="F26B43"/>
          </p15:clr>
        </p15:guide>
        <p15:guide id="4" pos="7382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pos="3552">
          <p15:clr>
            <a:srgbClr val="F26B43"/>
          </p15:clr>
        </p15:guide>
        <p15:guide id="10" pos="1910">
          <p15:clr>
            <a:srgbClr val="F26B43"/>
          </p15:clr>
        </p15:guide>
        <p15:guide id="11" pos="4128">
          <p15:clr>
            <a:srgbClr val="F26B43"/>
          </p15:clr>
        </p15:guide>
        <p15:guide id="12" pos="407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7315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235075"/>
            <a:ext cx="11522075" cy="5119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33"/>
    </p:custDataLst>
    <p:extLst>
      <p:ext uri="{BB962C8B-B14F-4D97-AF65-F5344CB8AC3E}">
        <p14:creationId xmlns:p14="http://schemas.microsoft.com/office/powerpoint/2010/main" val="76573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  <p:sldLayoutId id="2147483927" r:id="rId14"/>
    <p:sldLayoutId id="2147483928" r:id="rId15"/>
    <p:sldLayoutId id="2147483929" r:id="rId16"/>
    <p:sldLayoutId id="2147483930" r:id="rId17"/>
    <p:sldLayoutId id="2147483931" r:id="rId18"/>
    <p:sldLayoutId id="2147483932" r:id="rId19"/>
    <p:sldLayoutId id="2147483933" r:id="rId20"/>
    <p:sldLayoutId id="2147483934" r:id="rId21"/>
    <p:sldLayoutId id="2147483935" r:id="rId22"/>
    <p:sldLayoutId id="2147483936" r:id="rId23"/>
    <p:sldLayoutId id="2147483937" r:id="rId24"/>
    <p:sldLayoutId id="2147483938" r:id="rId25"/>
    <p:sldLayoutId id="2147483939" r:id="rId26"/>
    <p:sldLayoutId id="2147483940" r:id="rId27"/>
    <p:sldLayoutId id="2147483941" r:id="rId28"/>
    <p:sldLayoutId id="2147483942" r:id="rId29"/>
    <p:sldLayoutId id="2147483943" r:id="rId30"/>
    <p:sldLayoutId id="2147483944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20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2561">
          <p15:clr>
            <a:srgbClr val="F26B43"/>
          </p15:clr>
        </p15:guide>
        <p15:guide id="5" pos="5119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cdonaldsapps.com/en-GB/account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F11C8-7E5A-8717-E835-A68CE2161B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MAL Training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3702A82B-62F0-5D8E-C09D-95EF26835D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2F2F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88203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58900" y="84304"/>
            <a:ext cx="79094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Designed for you – fast, flexible and relevant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Content Placeholder 4"/>
          <p:cNvSpPr txBox="1">
            <a:spLocks/>
          </p:cNvSpPr>
          <p:nvPr/>
        </p:nvSpPr>
        <p:spPr>
          <a:xfrm>
            <a:off x="3911599" y="1265124"/>
            <a:ext cx="8049108" cy="529009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522294" lvl="2" indent="-457200" algn="just">
              <a:lnSpc>
                <a:spcPct val="15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600" spc="-24" dirty="0">
                <a:solidFill>
                  <a:srgbClr val="404040"/>
                </a:solidFill>
                <a:latin typeface="+mn-lt"/>
              </a:rPr>
              <a:t>The homepage </a:t>
            </a:r>
            <a:r>
              <a:rPr lang="en-US" sz="1600" spc="-24" dirty="0">
                <a:latin typeface="+mn-lt"/>
              </a:rPr>
              <a:t>is</a:t>
            </a:r>
            <a:r>
              <a:rPr lang="en-US" sz="1600" spc="-24" dirty="0">
                <a:solidFill>
                  <a:srgbClr val="404040"/>
                </a:solidFill>
                <a:latin typeface="+mn-lt"/>
              </a:rPr>
              <a:t> the </a:t>
            </a:r>
            <a:r>
              <a:rPr lang="en-US" sz="1600" spc="-24" dirty="0">
                <a:latin typeface="+mn-lt"/>
              </a:rPr>
              <a:t>C</a:t>
            </a:r>
            <a:r>
              <a:rPr lang="en-US" sz="1600" spc="-24" dirty="0">
                <a:solidFill>
                  <a:srgbClr val="404040"/>
                </a:solidFill>
                <a:latin typeface="+mn-lt"/>
              </a:rPr>
              <a:t>entre of your online brand, a place for:</a:t>
            </a:r>
          </a:p>
          <a:p>
            <a:pPr marL="668598" lvl="8" indent="-285750" algn="just">
              <a:lnSpc>
                <a:spcPct val="150000"/>
              </a:lnSpc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600" spc="-24" dirty="0">
                <a:solidFill>
                  <a:srgbClr val="404040"/>
                </a:solidFill>
                <a:ea typeface="Roboto" panose="02000000000000000000" pitchFamily="2" charset="0"/>
                <a:sym typeface="Helvetica Neue LT Std 45 Light" charset="0"/>
              </a:rPr>
              <a:t>Brand Engagement with refreshable and beautiful images and content</a:t>
            </a:r>
          </a:p>
          <a:p>
            <a:pPr marL="668598" lvl="8" indent="-285750" algn="just">
              <a:lnSpc>
                <a:spcPct val="150000"/>
              </a:lnSpc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600" spc="-24" dirty="0">
                <a:solidFill>
                  <a:srgbClr val="404040"/>
                </a:solidFill>
                <a:ea typeface="Roboto" panose="02000000000000000000" pitchFamily="2" charset="0"/>
                <a:sym typeface="Helvetica Neue LT Std 45 Light" charset="0"/>
              </a:rPr>
              <a:t>Driving GCs and ACs</a:t>
            </a:r>
          </a:p>
          <a:p>
            <a:pPr marL="285736" indent="-19684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The front page tiles can be used to point users to specific offers, to the registration page or to a websites/microsites</a:t>
            </a:r>
          </a:p>
          <a:p>
            <a:pPr marL="285736" indent="-19684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Configure it to target the right message to the right customers</a:t>
            </a:r>
          </a:p>
          <a:p>
            <a:pPr marL="722309" lvl="1" indent="-285750" algn="just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600" spc="-24" dirty="0">
                <a:latin typeface="+mn-lt"/>
                <a:sym typeface="Helvetica Neue LT Std 45 Light" charset="0"/>
              </a:rPr>
              <a:t>Content can be both personalised and contextualized based on the user’s profile or a number of other conditions such as their current location or the weather.</a:t>
            </a:r>
          </a:p>
          <a:p>
            <a:pPr marL="285736" indent="-19684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llows you to communicate to your customers with brand messaging, fully synchronized with your marketing calendar</a:t>
            </a:r>
          </a:p>
          <a:p>
            <a:pPr marL="285736" indent="-19684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ero Banner decide the color of the background for the rest of the ‘Home’ view (bottom few rows of pixels of the image )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482" y="1290524"/>
            <a:ext cx="2389909" cy="4779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6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244600" y="94314"/>
            <a:ext cx="7985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Targeting the right offers for the right customers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Content Placeholder 4"/>
          <p:cNvSpPr txBox="1">
            <a:spLocks/>
          </p:cNvSpPr>
          <p:nvPr/>
        </p:nvSpPr>
        <p:spPr>
          <a:xfrm>
            <a:off x="1241352" y="1839265"/>
            <a:ext cx="5684542" cy="2676455"/>
          </a:xfrm>
          <a:prstGeom prst="rect">
            <a:avLst/>
          </a:prstGeom>
          <a:ln>
            <a:noFill/>
          </a:ln>
        </p:spPr>
        <p:txBody>
          <a:bodyPr lIns="91436" tIns="45718" rIns="91436" bIns="45718"/>
          <a:lstStyle>
            <a:lvl1pPr marL="0" indent="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charset="0"/>
              <a:defRPr lang="en-US" sz="1388" spc="-18" baseline="0" noProof="0" dirty="0" smtClean="0">
                <a:solidFill>
                  <a:schemeClr val="tx2"/>
                </a:solidFill>
                <a:effectLst/>
                <a:latin typeface="+mn-lt"/>
                <a:ea typeface="Arial Unicode MS" pitchFamily="34" charset="-128"/>
                <a:cs typeface="Arial Unicode MS" pitchFamily="34" charset="-128"/>
                <a:sym typeface="Helvetica Neue LT Std 45 Light"/>
              </a:defRPr>
            </a:lvl1pPr>
            <a:lvl2pPr marL="209190" indent="-20919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8951" indent="-262922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6720" indent="-156183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52665" indent="-130657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6pPr>
            <a:lvl7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7pPr>
            <a:lvl8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8pPr>
            <a:lvl9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Use performance data to build relevant and differentiated offers for different customers</a:t>
            </a:r>
          </a:p>
          <a:p>
            <a:pPr marL="358757" lvl="2" indent="-269861" defTabSz="457178">
              <a:lnSpc>
                <a:spcPct val="150000"/>
              </a:lnSpc>
              <a:buClr>
                <a:srgbClr val="C70920"/>
              </a:buClr>
              <a:buFont typeface="Arial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Fraud prevention capabilities</a:t>
            </a:r>
          </a:p>
          <a:p>
            <a:pPr marL="358757" lvl="2" indent="-269861" defTabSz="457178">
              <a:lnSpc>
                <a:spcPct val="150000"/>
              </a:lnSpc>
              <a:buClr>
                <a:srgbClr val="C70920"/>
              </a:buClr>
              <a:buFont typeface="Arial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Customer tutorials</a:t>
            </a:r>
          </a:p>
          <a:p>
            <a:pPr marL="358757" lvl="2" indent="-269861" defTabSz="457178">
              <a:lnSpc>
                <a:spcPct val="150000"/>
              </a:lnSpc>
              <a:buClr>
                <a:srgbClr val="C70920"/>
              </a:buClr>
              <a:buFont typeface="Arial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Customizable Terms and Conditions for each offer redemption</a:t>
            </a:r>
          </a:p>
        </p:txBody>
      </p:sp>
      <p:pic>
        <p:nvPicPr>
          <p:cNvPr id="15" name="Picture 14" descr="CLRAll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175" y="965200"/>
            <a:ext cx="5572125" cy="557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62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256196" y="143690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“App within app” capability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1201738" y="1736271"/>
            <a:ext cx="7446962" cy="3400518"/>
          </a:xfrm>
          <a:prstGeom prst="rect">
            <a:avLst/>
          </a:prstGeom>
          <a:ln>
            <a:noFill/>
          </a:ln>
        </p:spPr>
        <p:txBody>
          <a:bodyPr/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76213"/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Use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Smart Web Views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to enhance the experience with your local apps.  </a:t>
            </a:r>
            <a:b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No need to update GMA Lite. Build local apps that could include Advent Calendars, Lunar New Year games, GC driver games or Monopoly. </a:t>
            </a:r>
          </a:p>
          <a:p>
            <a:pPr marL="176213"/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6213"/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Your agencies can incorporate exciting promotional functions using:</a:t>
            </a:r>
          </a:p>
          <a:p>
            <a:pPr marL="536575" lvl="2" indent="-360363"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Access to Customer Data</a:t>
            </a:r>
          </a:p>
          <a:p>
            <a:pPr marL="536575" lvl="2" indent="-360363"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Device Location Data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804818"/>
            <a:ext cx="7410969" cy="544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25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138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Push Notification Capability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Content Placeholder 4"/>
          <p:cNvSpPr txBox="1">
            <a:spLocks/>
          </p:cNvSpPr>
          <p:nvPr/>
        </p:nvSpPr>
        <p:spPr>
          <a:xfrm>
            <a:off x="7188237" y="1480851"/>
            <a:ext cx="4333838" cy="4251707"/>
          </a:xfrm>
          <a:prstGeom prst="rect">
            <a:avLst/>
          </a:prstGeom>
          <a:ln>
            <a:noFill/>
          </a:ln>
        </p:spPr>
        <p:txBody>
          <a:bodyPr lIns="91436" tIns="45718" rIns="91436" bIns="45718"/>
          <a:lstStyle>
            <a:lvl1pPr marL="0" indent="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charset="0"/>
              <a:defRPr lang="en-US" sz="1388" spc="-18" baseline="0" noProof="0" dirty="0" smtClean="0">
                <a:solidFill>
                  <a:schemeClr val="tx2"/>
                </a:solidFill>
                <a:effectLst/>
                <a:latin typeface="+mn-lt"/>
                <a:ea typeface="Arial Unicode MS" pitchFamily="34" charset="-128"/>
                <a:cs typeface="Arial Unicode MS" pitchFamily="34" charset="-128"/>
                <a:sym typeface="Helvetica Neue LT Std 45 Light"/>
              </a:defRPr>
            </a:lvl1pPr>
            <a:lvl2pPr marL="209190" indent="-20919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8951" indent="-262922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6720" indent="-156183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52665" indent="-130657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6pPr>
            <a:lvl7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7pPr>
            <a:lvl8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8pPr>
            <a:lvl9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Targeted Push Notification for selected customer segments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Supports both English and a local market languag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0338" y="1313525"/>
            <a:ext cx="4503173" cy="98927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4523" y="2655449"/>
            <a:ext cx="4526296" cy="90686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26421" y="3914963"/>
            <a:ext cx="3761895" cy="96062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9814" y="5170498"/>
            <a:ext cx="3761895" cy="96444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4218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138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Profile Manager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Content Placeholder 4"/>
          <p:cNvSpPr txBox="1">
            <a:spLocks/>
          </p:cNvSpPr>
          <p:nvPr/>
        </p:nvSpPr>
        <p:spPr>
          <a:xfrm>
            <a:off x="6761018" y="1480851"/>
            <a:ext cx="5080000" cy="4251707"/>
          </a:xfrm>
          <a:prstGeom prst="rect">
            <a:avLst/>
          </a:prstGeom>
          <a:ln>
            <a:noFill/>
          </a:ln>
        </p:spPr>
        <p:txBody>
          <a:bodyPr lIns="91436" tIns="45718" rIns="91436" bIns="45718"/>
          <a:lstStyle>
            <a:lvl1pPr marL="0" indent="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charset="0"/>
              <a:defRPr lang="en-US" sz="1388" spc="-18" baseline="0" noProof="0" dirty="0" smtClean="0">
                <a:solidFill>
                  <a:schemeClr val="tx2"/>
                </a:solidFill>
                <a:effectLst/>
                <a:latin typeface="+mn-lt"/>
                <a:ea typeface="Arial Unicode MS" pitchFamily="34" charset="-128"/>
                <a:cs typeface="Arial Unicode MS" pitchFamily="34" charset="-128"/>
                <a:sym typeface="Helvetica Neue LT Std 45 Light"/>
              </a:defRPr>
            </a:lvl1pPr>
            <a:lvl2pPr marL="209190" indent="-20919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8951" indent="-262922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6720" indent="-156183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52665" indent="-130657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6pPr>
            <a:lvl7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7pPr>
            <a:lvl8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8pPr>
            <a:lvl9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88896" lvl="2" indent="0" defTabSz="457178">
              <a:lnSpc>
                <a:spcPct val="150000"/>
              </a:lnSpc>
              <a:buClr>
                <a:srgbClr val="C70920"/>
              </a:buClr>
              <a:buNone/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Web version of My Account page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Update Profile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Reset Password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Loyalty Consent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Marketing communications consent switches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r>
              <a:rPr lang="en-US" sz="1800" kern="0" dirty="0">
                <a:solidFill>
                  <a:prstClr val="black">
                    <a:lumMod val="50000"/>
                  </a:prstClr>
                </a:solidFill>
                <a:latin typeface="Arial"/>
                <a:cs typeface="Arial"/>
              </a:rPr>
              <a:t>Account Deletion</a:t>
            </a: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</a:pPr>
            <a:endParaRPr lang="en-US" sz="1800" kern="0" dirty="0">
              <a:solidFill>
                <a:prstClr val="black">
                  <a:lumMod val="50000"/>
                </a:prstClr>
              </a:solidFill>
              <a:latin typeface="Arial"/>
              <a:cs typeface="Arial"/>
            </a:endParaRPr>
          </a:p>
          <a:p>
            <a:pPr marL="88896" lvl="2" indent="0" defTabSz="457178">
              <a:lnSpc>
                <a:spcPct val="150000"/>
              </a:lnSpc>
              <a:buClr>
                <a:srgbClr val="C70920"/>
              </a:buClr>
              <a:buNone/>
            </a:pPr>
            <a:r>
              <a:rPr lang="en-US" sz="1800" dirty="0">
                <a:solidFill>
                  <a:schemeClr val="tx1"/>
                </a:solidFill>
              </a:rPr>
              <a:t>It can be accessed at  </a:t>
            </a:r>
            <a:r>
              <a:rPr lang="en-US" sz="1800" dirty="0">
                <a:solidFill>
                  <a:schemeClr val="tx1"/>
                </a:solidFill>
                <a:hlinkClick r:id="rId3"/>
              </a:rPr>
              <a:t>https://mcdonaldsapps.com/en-GB/account</a:t>
            </a:r>
            <a:endParaRPr lang="en-US" sz="1800" kern="0" dirty="0">
              <a:solidFill>
                <a:schemeClr val="tx1"/>
              </a:solidFill>
              <a:cs typeface="Arial"/>
            </a:endParaRPr>
          </a:p>
          <a:p>
            <a:pPr marL="374646" lvl="2" indent="-285750" defTabSz="457178">
              <a:lnSpc>
                <a:spcPct val="150000"/>
              </a:lnSpc>
              <a:buClr>
                <a:srgbClr val="C70920"/>
              </a:buClr>
              <a:buFont typeface="Arial" panose="020B0604020202020204" pitchFamily="34" charset="0"/>
              <a:buChar char="•"/>
            </a:pPr>
            <a:endParaRPr lang="en-US" sz="1800" kern="0" dirty="0">
              <a:solidFill>
                <a:prstClr val="black">
                  <a:lumMod val="50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2F0D9E-ABAD-649A-D8B3-5AE2953B53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8877" y="909637"/>
            <a:ext cx="4929223" cy="482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5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eedback, questions?</a:t>
            </a:r>
          </a:p>
        </p:txBody>
      </p:sp>
    </p:spTree>
    <p:extLst>
      <p:ext uri="{BB962C8B-B14F-4D97-AF65-F5344CB8AC3E}">
        <p14:creationId xmlns:p14="http://schemas.microsoft.com/office/powerpoint/2010/main" val="250770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/>
          <p:cNvSpPr/>
          <p:nvPr/>
        </p:nvSpPr>
        <p:spPr>
          <a:xfrm flipH="1">
            <a:off x="10786923" y="6227449"/>
            <a:ext cx="1403489" cy="630552"/>
          </a:xfrm>
          <a:prstGeom prst="rtTriangle">
            <a:avLst/>
          </a:prstGeom>
          <a:solidFill>
            <a:srgbClr val="E0E8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175885" y="2883495"/>
            <a:ext cx="7450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>
                    <a:lumMod val="75000"/>
                  </a:schemeClr>
                </a:solidFill>
                <a:latin typeface="Open Sans"/>
                <a:cs typeface="Arial Black"/>
              </a:rPr>
              <a:t>GMA Lite Overview</a:t>
            </a:r>
            <a:endParaRPr lang="en-US" sz="6000" b="1" dirty="0"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73107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99492" y="269730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  <a:cs typeface="Open Sans"/>
              </a:rPr>
              <a:t>What is GMA Lite ?</a:t>
            </a:r>
          </a:p>
        </p:txBody>
      </p:sp>
      <p:sp>
        <p:nvSpPr>
          <p:cNvPr id="18" name="Content Placeholder 4"/>
          <p:cNvSpPr txBox="1">
            <a:spLocks/>
          </p:cNvSpPr>
          <p:nvPr/>
        </p:nvSpPr>
        <p:spPr>
          <a:xfrm>
            <a:off x="4372428" y="2225974"/>
            <a:ext cx="7514771" cy="2270121"/>
          </a:xfrm>
          <a:prstGeom prst="rect">
            <a:avLst/>
          </a:prstGeom>
          <a:ln>
            <a:noFill/>
          </a:ln>
        </p:spPr>
        <p:txBody>
          <a:bodyPr lIns="91438" tIns="45719" rIns="91438" bIns="45719"/>
          <a:lstStyle>
            <a:lvl1pPr marL="0" indent="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charset="0"/>
              <a:defRPr lang="en-US" sz="1388" spc="-18" baseline="0" noProof="0" dirty="0" smtClean="0">
                <a:solidFill>
                  <a:schemeClr val="tx2"/>
                </a:solidFill>
                <a:effectLst/>
                <a:latin typeface="+mn-lt"/>
                <a:ea typeface="Arial Unicode MS" pitchFamily="34" charset="-128"/>
                <a:cs typeface="Arial Unicode MS" pitchFamily="34" charset="-128"/>
                <a:sym typeface="Helvetica Neue LT Std 45 Light"/>
              </a:defRPr>
            </a:lvl1pPr>
            <a:lvl2pPr marL="209190" indent="-209190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8951" indent="-262922" algn="l" defTabSz="898746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6720" indent="-156183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52665" indent="-130657" algn="l" defTabSz="898746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6pPr>
            <a:lvl7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7pPr>
            <a:lvl8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8pPr>
            <a:lvl9pPr marL="752665" indent="-130657" algn="l" defTabSz="89874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8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88898" lvl="2" indent="0" defTabSz="457189">
              <a:buClrTx/>
              <a:buNone/>
            </a:pPr>
            <a:r>
              <a:rPr lang="en-US" sz="3200" kern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An app that provides </a:t>
            </a:r>
            <a:r>
              <a:rPr lang="en-US" sz="3200" b="1" kern="0" dirty="0">
                <a:solidFill>
                  <a:srgbClr val="FF0000"/>
                </a:solidFill>
                <a:latin typeface="Arial"/>
                <a:cs typeface="Arial"/>
              </a:rPr>
              <a:t>targeted offers</a:t>
            </a:r>
            <a:r>
              <a:rPr lang="en-US" sz="3200" kern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 and </a:t>
            </a:r>
            <a:r>
              <a:rPr lang="en-US" sz="3200" b="1" kern="0" dirty="0">
                <a:solidFill>
                  <a:srgbClr val="FF0000"/>
                </a:solidFill>
                <a:latin typeface="Arial"/>
                <a:cs typeface="Arial"/>
              </a:rPr>
              <a:t>engagement opportunities </a:t>
            </a:r>
            <a:r>
              <a:rPr lang="en-US" sz="3200" kern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with our customers to </a:t>
            </a:r>
            <a:r>
              <a:rPr lang="en-US" sz="3200" b="1" kern="0" dirty="0">
                <a:solidFill>
                  <a:srgbClr val="FF0000"/>
                </a:solidFill>
                <a:latin typeface="Arial"/>
                <a:cs typeface="Arial"/>
              </a:rPr>
              <a:t>drive GCs in our restaurants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5205" y="1168215"/>
            <a:ext cx="2389909" cy="4779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65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265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Single App, Single Publisher Model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70" name="Content Placeholder 1"/>
          <p:cNvSpPr txBox="1">
            <a:spLocks/>
          </p:cNvSpPr>
          <p:nvPr/>
        </p:nvSpPr>
        <p:spPr>
          <a:xfrm>
            <a:off x="1400275" y="1501748"/>
            <a:ext cx="10334525" cy="2299487"/>
          </a:xfrm>
          <a:prstGeom prst="rect">
            <a:avLst/>
          </a:prstGeom>
        </p:spPr>
        <p:txBody>
          <a:bodyPr/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kern="0" dirty="0">
                <a:latin typeface="+mn-lt"/>
              </a:rPr>
              <a:t>GMA Lite is a </a:t>
            </a:r>
            <a:r>
              <a:rPr lang="en-US" sz="2000" b="1" kern="0" dirty="0">
                <a:latin typeface="+mn-lt"/>
              </a:rPr>
              <a:t>single global app for all market published by McDonald’s Global Markets</a:t>
            </a:r>
            <a:r>
              <a:rPr lang="en-US" sz="2000" kern="0" dirty="0">
                <a:latin typeface="+mn-lt"/>
              </a:rPr>
              <a:t>.  </a:t>
            </a:r>
          </a:p>
          <a:p>
            <a:r>
              <a:rPr lang="en-US" sz="1800" b="1" kern="0" dirty="0">
                <a:latin typeface="+mn-lt"/>
              </a:rPr>
              <a:t>Benefits</a:t>
            </a:r>
            <a:r>
              <a:rPr lang="en-US" sz="1800" kern="0" dirty="0">
                <a:latin typeface="+mn-lt"/>
              </a:rPr>
              <a:t>:</a:t>
            </a:r>
          </a:p>
          <a:p>
            <a:pPr marL="652455" lvl="1" indent="-304792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+mn-lt"/>
              </a:rPr>
              <a:t>Every market gets access to upgraded with new functionality at the same time.</a:t>
            </a:r>
          </a:p>
          <a:p>
            <a:pPr marL="652455" lvl="1" indent="-304792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+mn-lt"/>
              </a:rPr>
              <a:t>We can rapidly release updates on a more frequent schedule.</a:t>
            </a:r>
            <a:endParaRPr lang="en-US" sz="1867" kern="0" dirty="0">
              <a:latin typeface="+mn-lt"/>
            </a:endParaRPr>
          </a:p>
          <a:p>
            <a:pPr marL="652455" lvl="1" indent="-304792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+mn-lt"/>
              </a:rPr>
              <a:t>Development time is focused on app improvements rather than individual market localization.</a:t>
            </a:r>
            <a:endParaRPr lang="en-US" sz="1867" kern="0" dirty="0">
              <a:latin typeface="+mn-lt"/>
            </a:endParaRPr>
          </a:p>
          <a:p>
            <a:pPr marL="652455" lvl="1" indent="-304792">
              <a:buFont typeface="Arial" panose="020B0604020202020204" pitchFamily="34" charset="0"/>
              <a:buChar char="•"/>
            </a:pPr>
            <a:r>
              <a:rPr lang="en-US" sz="1600" b="1" kern="0" dirty="0">
                <a:latin typeface="+mn-lt"/>
              </a:rPr>
              <a:t>Registered user don’t need to re-register to access another market’s GMA Lite app</a:t>
            </a:r>
            <a:endParaRPr lang="en-US" sz="1600" kern="0" dirty="0">
              <a:latin typeface="+mn-lt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427358" y="3953635"/>
            <a:ext cx="1093974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b="1" kern="0" spc="-24" dirty="0">
                <a:solidFill>
                  <a:srgbClr val="404040"/>
                </a:solidFill>
                <a:latin typeface="+mn-lt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rPr>
              <a:t>Single instance of Plexure and the App Engine</a:t>
            </a:r>
          </a:p>
          <a:p>
            <a:pPr marL="64578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kern="0" spc="-24" dirty="0">
                <a:solidFill>
                  <a:srgbClr val="404040"/>
                </a:solidFill>
                <a:latin typeface="+mn-lt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rPr>
              <a:t>Fast - to deploy to markets as the backend is already setup</a:t>
            </a:r>
          </a:p>
          <a:p>
            <a:pPr marL="64578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kern="0" spc="-24" dirty="0">
                <a:solidFill>
                  <a:srgbClr val="404040"/>
                </a:solidFill>
                <a:latin typeface="+mn-lt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rPr>
              <a:t>Simple - to manage and support in the future</a:t>
            </a:r>
          </a:p>
          <a:p>
            <a:pPr marL="64578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kern="0" spc="-24" dirty="0">
                <a:solidFill>
                  <a:srgbClr val="404040"/>
                </a:solidFill>
                <a:latin typeface="+mn-lt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rPr>
              <a:t>Cheap - to run with no new setup fees or extra hosting fees for each new market</a:t>
            </a:r>
          </a:p>
          <a:p>
            <a:pPr marL="360030" lvl="1" indent="0">
              <a:lnSpc>
                <a:spcPct val="150000"/>
              </a:lnSpc>
              <a:buNone/>
            </a:pPr>
            <a:endParaRPr lang="en-US" sz="1600" kern="0" spc="-24" dirty="0">
              <a:solidFill>
                <a:srgbClr val="404040"/>
              </a:solidFill>
              <a:latin typeface="+mn-lt"/>
              <a:ea typeface="Roboto" panose="02000000000000000000" pitchFamily="2" charset="0"/>
              <a:cs typeface="Arial Unicode MS" pitchFamily="34" charset="-128"/>
              <a:sym typeface="Helvetica Neue LT Std 45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15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773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Demo</a:t>
            </a:r>
            <a:endParaRPr lang="en-US" sz="2400" b="1" dirty="0">
              <a:latin typeface="Open Sans"/>
              <a:cs typeface="Open Sans"/>
            </a:endParaRPr>
          </a:p>
        </p:txBody>
      </p:sp>
      <p:pic>
        <p:nvPicPr>
          <p:cNvPr id="17" name="Picture 16" descr="NutritionAll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4268" y="1045649"/>
            <a:ext cx="5491676" cy="549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42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2884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Market Picker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904973" y="1705975"/>
            <a:ext cx="4826524" cy="4812799"/>
          </a:xfrm>
          <a:prstGeom prst="rect">
            <a:avLst/>
          </a:prstGeom>
        </p:spPr>
        <p:txBody>
          <a:bodyPr/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Customer chooses the country/region that they want to use the app in, first time they download the app</a:t>
            </a:r>
          </a:p>
          <a:p>
            <a:pPr algn="just">
              <a:lnSpc>
                <a:spcPct val="150000"/>
              </a:lnSpc>
            </a:pPr>
            <a:endParaRPr lang="en-US" sz="1800" kern="0" dirty="0">
              <a:latin typeface="+mj-lt"/>
            </a:endParaRP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Market picker can also be selected from the side menu which allows customers to switch to an entirely different country without downloading a new app. </a:t>
            </a:r>
          </a:p>
          <a:p>
            <a:pPr algn="just">
              <a:lnSpc>
                <a:spcPct val="150000"/>
              </a:lnSpc>
            </a:pPr>
            <a:endParaRPr lang="en-US" sz="1800" kern="0" dirty="0">
              <a:latin typeface="+mj-lt"/>
            </a:endParaRP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390" y="1464969"/>
            <a:ext cx="2339109" cy="467821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5245" y="1501914"/>
            <a:ext cx="2302164" cy="460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9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900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Switching to Different Market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1409259" y="2356073"/>
            <a:ext cx="7236006" cy="2639999"/>
          </a:xfrm>
          <a:prstGeom prst="rect">
            <a:avLst/>
          </a:prstGeom>
        </p:spPr>
        <p:txBody>
          <a:bodyPr/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When switching from sidebar -</a:t>
            </a:r>
          </a:p>
          <a:p>
            <a:pPr lvl="1" indent="0" algn="just">
              <a:lnSpc>
                <a:spcPct val="150000"/>
              </a:lnSpc>
              <a:buFont typeface="Arial" charset="0"/>
              <a:buNone/>
            </a:pPr>
            <a:r>
              <a:rPr lang="en-US" sz="1800" kern="0" dirty="0">
                <a:latin typeface="+mj-lt"/>
              </a:rPr>
              <a:t>Customer account remains the same and they remain logged-in but they must accept the new market's Terms and Conditions, Privacy Policy and Age Restrictions before they can continue </a:t>
            </a: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405" y="1431636"/>
            <a:ext cx="2244437" cy="4488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392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Onboarding Carousel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1364698" y="1196340"/>
            <a:ext cx="2928836" cy="5039360"/>
          </a:xfrm>
          <a:prstGeom prst="rect">
            <a:avLst/>
          </a:prstGeom>
        </p:spPr>
        <p:txBody>
          <a:bodyPr/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A collection of views with an image, a title, some summary text and a button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Great place to ask customers if they want to permit the McDonald's app to access the device's location and send the customer push notifications</a:t>
            </a: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4944795" y="5669281"/>
            <a:ext cx="1965288" cy="4562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800" b="1" kern="0" dirty="0">
                <a:latin typeface="+mj-lt"/>
              </a:rPr>
              <a:t>Location Request</a:t>
            </a: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7283462" y="5697330"/>
            <a:ext cx="2172937" cy="4562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800" b="1" kern="0" dirty="0">
                <a:latin typeface="+mj-lt"/>
              </a:rPr>
              <a:t>Notification Request</a:t>
            </a: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sp>
        <p:nvSpPr>
          <p:cNvPr id="29" name="Text Placeholder 2"/>
          <p:cNvSpPr txBox="1">
            <a:spLocks/>
          </p:cNvSpPr>
          <p:nvPr/>
        </p:nvSpPr>
        <p:spPr>
          <a:xfrm>
            <a:off x="9791678" y="5695949"/>
            <a:ext cx="1965288" cy="4562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800" b="1" kern="0" dirty="0">
                <a:latin typeface="+mj-lt"/>
              </a:rPr>
              <a:t>Custom View</a:t>
            </a:r>
          </a:p>
          <a:p>
            <a:pPr algn="just">
              <a:lnSpc>
                <a:spcPct val="150000"/>
              </a:lnSpc>
            </a:pPr>
            <a:br>
              <a:rPr lang="en-US" sz="1800" kern="0" dirty="0">
                <a:latin typeface="+mj-lt"/>
              </a:rPr>
            </a:br>
            <a:endParaRPr lang="en-US" sz="1800" kern="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071" y="1163627"/>
            <a:ext cx="2246746" cy="449349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81" y="1189164"/>
            <a:ext cx="2264518" cy="45290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463" y="1189164"/>
            <a:ext cx="2227767" cy="445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99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1390098" y="259791"/>
            <a:ext cx="6138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Open Sans"/>
              </a:rPr>
              <a:t>Registration 'Thanks'</a:t>
            </a:r>
            <a:endParaRPr lang="en-US" sz="2400" b="1" dirty="0">
              <a:latin typeface="Open Sans"/>
              <a:cs typeface="Open San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D8450D0-F0C1-4575-A734-4238402F1085}"/>
              </a:ext>
            </a:extLst>
          </p:cNvPr>
          <p:cNvSpPr txBox="1">
            <a:spLocks/>
          </p:cNvSpPr>
          <p:nvPr/>
        </p:nvSpPr>
        <p:spPr>
          <a:xfrm>
            <a:off x="1489043" y="1655617"/>
            <a:ext cx="7261257" cy="31962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 defTabSz="1196975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sz="2400" spc="-24" dirty="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  <a:sym typeface="Helvetica Neue LT Std 45 Light" charset="0"/>
              </a:defRPr>
            </a:lvl1pPr>
            <a:lvl2pPr marL="347663" indent="-347663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4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2pPr>
            <a:lvl3pPr marL="685800" indent="-287338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–"/>
              <a:tabLst>
                <a:tab pos="685800" algn="l"/>
              </a:tabLst>
              <a:defRPr sz="2000"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3pPr>
            <a:lvl4pPr marL="973138" indent="-228600" algn="l" defTabSz="1196975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Courier New" charset="0"/>
              <a:buChar char="»"/>
              <a:defRPr>
                <a:solidFill>
                  <a:srgbClr val="404040"/>
                </a:solidFill>
                <a:latin typeface="Roboto" panose="02000000000000000000" pitchFamily="2" charset="0"/>
                <a:ea typeface="Roboto" panose="02000000000000000000" pitchFamily="2" charset="0"/>
                <a:cs typeface="Arial Unicode MS" pitchFamily="34" charset="-128"/>
              </a:defRPr>
            </a:lvl4pPr>
            <a:lvl5pPr marL="1003300" indent="-173038" algn="l" defTabSz="119697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6pPr>
            <a:lvl7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7pPr>
            <a:lvl8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8pPr>
            <a:lvl9pPr marL="1003554" indent="-174209" algn="l" defTabSz="11983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We can now configure that once the user signs up we can show a thank you for signing u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latin typeface="+mj-lt"/>
              </a:rPr>
              <a:t>This helps to set the personalized tone with the consumer and build a connec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7391" y="1364907"/>
            <a:ext cx="2496128" cy="4992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76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NzhzfZzNJjMqRq4tRk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mXzbhQ1e2KJ7Cc5qX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NzhzfZzNJjMqRq4tRk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CD_2020_v1.5">
  <a:themeElements>
    <a:clrScheme name="Custom 67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EBC8B"/>
      </a:hlink>
      <a:folHlink>
        <a:srgbClr val="D7D2CB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CD_2020_v1.5" id="{5E9D6323-F097-423A-9CA1-EB45B0C5B867}" vid="{ACA3A455-B99D-4DBA-827F-DCB14732BB75}"/>
    </a:ext>
  </a:extLst>
</a:theme>
</file>

<file path=ppt/theme/theme2.xml><?xml version="1.0" encoding="utf-8"?>
<a:theme xmlns:a="http://schemas.openxmlformats.org/drawingml/2006/main" name="1_McD">
  <a:themeElements>
    <a:clrScheme name="Custom 1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000000"/>
      </a:folHlink>
    </a:clrScheme>
    <a:fontScheme name="McD Vis ID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bg1"/>
          </a:solidFill>
        </a:ln>
      </a:spPr>
      <a:bodyPr wrap="none" lIns="182880" tIns="91440" rIns="182880" bIns="91440" rtlCol="0" anchor="ctr">
        <a:spAutoFit/>
      </a:bodyPr>
      <a:lstStyle>
        <a:defPPr algn="ctr">
          <a:lnSpc>
            <a:spcPct val="90000"/>
          </a:lnSpc>
          <a:spcBef>
            <a:spcPts val="1200"/>
          </a:spcBef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McD">
  <a:themeElements>
    <a:clrScheme name="Custom 1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000000"/>
      </a:folHlink>
    </a:clrScheme>
    <a:fontScheme name="McD Vis ID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bg1"/>
          </a:solidFill>
        </a:ln>
      </a:spPr>
      <a:bodyPr wrap="none" lIns="182880" tIns="91440" rIns="182880" bIns="91440" rtlCol="0" anchor="ctr">
        <a:spAutoFit/>
      </a:bodyPr>
      <a:lstStyle>
        <a:defPPr algn="ctr">
          <a:lnSpc>
            <a:spcPct val="90000"/>
          </a:lnSpc>
          <a:spcBef>
            <a:spcPts val="1200"/>
          </a:spcBef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CD_2020_v1.5">
  <a:themeElements>
    <a:clrScheme name="Custom 67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EBC8B"/>
      </a:hlink>
      <a:folHlink>
        <a:srgbClr val="D7D2CB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CD_2020_v1.5" id="{5E9D6323-F097-423A-9CA1-EB45B0C5B867}" vid="{ACA3A455-B99D-4DBA-827F-DCB14732BB7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8c6ba5-f6a6-40ed-87f4-d2392211ed2b" xsi:nil="true"/>
    <lcf76f155ced4ddcb4097134ff3c332f xmlns="32d0f106-84ba-4729-858f-c7f38726f8d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5FE645942BA42A47725B1E6544B1F" ma:contentTypeVersion="18" ma:contentTypeDescription="Create a new document." ma:contentTypeScope="" ma:versionID="15b2be8818bc28d429ce1f470a55e463">
  <xsd:schema xmlns:xsd="http://www.w3.org/2001/XMLSchema" xmlns:xs="http://www.w3.org/2001/XMLSchema" xmlns:p="http://schemas.microsoft.com/office/2006/metadata/properties" xmlns:ns2="b98c6ba5-f6a6-40ed-87f4-d2392211ed2b" xmlns:ns3="32d0f106-84ba-4729-858f-c7f38726f8de" targetNamespace="http://schemas.microsoft.com/office/2006/metadata/properties" ma:root="true" ma:fieldsID="1e6fce9524bbfd6bc38c0868cbe977f5" ns2:_="" ns3:_="">
    <xsd:import namespace="b98c6ba5-f6a6-40ed-87f4-d2392211ed2b"/>
    <xsd:import namespace="32d0f106-84ba-4729-858f-c7f38726f8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8c6ba5-f6a6-40ed-87f4-d2392211ed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ea13421-8d58-406f-b44a-2247ba8314ef}" ma:internalName="TaxCatchAll" ma:showField="CatchAllData" ma:web="b98c6ba5-f6a6-40ed-87f4-d2392211ed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0f106-84ba-4729-858f-c7f38726f8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c20cc51-d7bf-4bb9-bd99-185e461ab0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B5F67C-ED53-41CB-9887-13FCB1B7A35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0713963-705A-485B-AB1E-38422BFE0D7A}"/>
</file>

<file path=customXml/itemProps3.xml><?xml version="1.0" encoding="utf-8"?>
<ds:datastoreItem xmlns:ds="http://schemas.openxmlformats.org/officeDocument/2006/customXml" ds:itemID="{0870D813-2712-4F51-8157-676C052A25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47</TotalTime>
  <Words>637</Words>
  <Application>Microsoft Office PowerPoint</Application>
  <PresentationFormat>Widescreen</PresentationFormat>
  <Paragraphs>86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Calibri</vt:lpstr>
      <vt:lpstr>Open Sans</vt:lpstr>
      <vt:lpstr>Open Sans Light</vt:lpstr>
      <vt:lpstr>Roboto</vt:lpstr>
      <vt:lpstr>Speedee</vt:lpstr>
      <vt:lpstr>Wingdings</vt:lpstr>
      <vt:lpstr>MCD_2020_v1.5</vt:lpstr>
      <vt:lpstr>1_McD</vt:lpstr>
      <vt:lpstr>3_McD</vt:lpstr>
      <vt:lpstr>1_MCD_2020_v1.5</vt:lpstr>
      <vt:lpstr>think-cell Slide</vt:lpstr>
      <vt:lpstr>GMAL Tra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eedback,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Desai Chinar</dc:creator>
  <cp:lastModifiedBy>Kaur, Harjot</cp:lastModifiedBy>
  <cp:revision>832</cp:revision>
  <cp:lastPrinted>2016-08-17T06:10:16Z</cp:lastPrinted>
  <dcterms:created xsi:type="dcterms:W3CDTF">2016-07-27T14:54:37Z</dcterms:created>
  <dcterms:modified xsi:type="dcterms:W3CDTF">2023-05-16T02:1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5FE645942BA42A47725B1E6544B1F</vt:lpwstr>
  </property>
</Properties>
</file>